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4"/>
  </p:notesMasterIdLst>
  <p:handoutMasterIdLst>
    <p:handoutMasterId r:id="rId55"/>
  </p:handoutMasterIdLst>
  <p:sldIdLst>
    <p:sldId id="257" r:id="rId5"/>
    <p:sldId id="344" r:id="rId6"/>
    <p:sldId id="345" r:id="rId7"/>
    <p:sldId id="331" r:id="rId8"/>
    <p:sldId id="332" r:id="rId9"/>
    <p:sldId id="335" r:id="rId10"/>
    <p:sldId id="333" r:id="rId11"/>
    <p:sldId id="334" r:id="rId12"/>
    <p:sldId id="342" r:id="rId13"/>
    <p:sldId id="336" r:id="rId14"/>
    <p:sldId id="337" r:id="rId15"/>
    <p:sldId id="338" r:id="rId16"/>
    <p:sldId id="340" r:id="rId17"/>
    <p:sldId id="339" r:id="rId18"/>
    <p:sldId id="341" r:id="rId19"/>
    <p:sldId id="305" r:id="rId20"/>
    <p:sldId id="330" r:id="rId21"/>
    <p:sldId id="304" r:id="rId22"/>
    <p:sldId id="320" r:id="rId23"/>
    <p:sldId id="306" r:id="rId24"/>
    <p:sldId id="307" r:id="rId25"/>
    <p:sldId id="310" r:id="rId26"/>
    <p:sldId id="291" r:id="rId27"/>
    <p:sldId id="317" r:id="rId28"/>
    <p:sldId id="311" r:id="rId29"/>
    <p:sldId id="312" r:id="rId30"/>
    <p:sldId id="324" r:id="rId31"/>
    <p:sldId id="323" r:id="rId32"/>
    <p:sldId id="292" r:id="rId33"/>
    <p:sldId id="293" r:id="rId34"/>
    <p:sldId id="313" r:id="rId35"/>
    <p:sldId id="294" r:id="rId36"/>
    <p:sldId id="296" r:id="rId37"/>
    <p:sldId id="314" r:id="rId38"/>
    <p:sldId id="325" r:id="rId39"/>
    <p:sldId id="297" r:id="rId40"/>
    <p:sldId id="322" r:id="rId41"/>
    <p:sldId id="315" r:id="rId42"/>
    <p:sldId id="298" r:id="rId43"/>
    <p:sldId id="316" r:id="rId44"/>
    <p:sldId id="299" r:id="rId45"/>
    <p:sldId id="309" r:id="rId46"/>
    <p:sldId id="288" r:id="rId47"/>
    <p:sldId id="290" r:id="rId48"/>
    <p:sldId id="302" r:id="rId49"/>
    <p:sldId id="329" r:id="rId50"/>
    <p:sldId id="326" r:id="rId51"/>
    <p:sldId id="327" r:id="rId52"/>
    <p:sldId id="343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ulo" id="{AD00534D-8852-414E-B878-F5AD473D6B80}">
          <p14:sldIdLst>
            <p14:sldId id="257"/>
          </p14:sldIdLst>
        </p14:section>
        <p14:section name="API REST" id="{34F15B3E-174E-4C54-B886-ADA6FA9AF28B}">
          <p14:sldIdLst>
            <p14:sldId id="344"/>
            <p14:sldId id="345"/>
          </p14:sldIdLst>
        </p14:section>
        <p14:section name="Proyectos" id="{CE7A5BF4-9AAA-4427-A551-0FFEAFA9469D}">
          <p14:sldIdLst>
            <p14:sldId id="331"/>
            <p14:sldId id="332"/>
            <p14:sldId id="335"/>
            <p14:sldId id="333"/>
            <p14:sldId id="334"/>
            <p14:sldId id="342"/>
            <p14:sldId id="336"/>
            <p14:sldId id="337"/>
            <p14:sldId id="338"/>
            <p14:sldId id="340"/>
            <p14:sldId id="339"/>
            <p14:sldId id="341"/>
          </p14:sldIdLst>
        </p14:section>
        <p14:section name="Iconos" id="{55C4A5C3-1DEB-45D5-B583-2A74EAC7F5D3}">
          <p14:sldIdLst>
            <p14:sldId id="305"/>
            <p14:sldId id="330"/>
            <p14:sldId id="304"/>
            <p14:sldId id="320"/>
            <p14:sldId id="306"/>
            <p14:sldId id="307"/>
            <p14:sldId id="310"/>
            <p14:sldId id="291"/>
            <p14:sldId id="317"/>
            <p14:sldId id="311"/>
            <p14:sldId id="312"/>
            <p14:sldId id="324"/>
            <p14:sldId id="323"/>
            <p14:sldId id="292"/>
            <p14:sldId id="293"/>
            <p14:sldId id="313"/>
            <p14:sldId id="294"/>
            <p14:sldId id="296"/>
            <p14:sldId id="314"/>
            <p14:sldId id="325"/>
            <p14:sldId id="297"/>
            <p14:sldId id="322"/>
            <p14:sldId id="315"/>
            <p14:sldId id="298"/>
            <p14:sldId id="316"/>
            <p14:sldId id="299"/>
            <p14:sldId id="309"/>
            <p14:sldId id="288"/>
            <p14:sldId id="290"/>
            <p14:sldId id="302"/>
            <p14:sldId id="329"/>
            <p14:sldId id="326"/>
            <p14:sldId id="327"/>
            <p14:sldId id="3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CDA497-89D4-7A1A-63AB-E5F66785B4DA}" name="Soares, Pedro J" initials="PS" userId="S::pedro.soares@ciriontechnologies.com::7d06cb85-3714-40df-8e2f-b3642f549b5f" providerId="AD"/>
  <p188:author id="{E88EC09A-81C3-E358-0323-C3CB7C098693}" name="Moraes, Rubens" initials="MR" userId="S::rubens.moraes@ciriontechnologies.com::90623859-f83d-4f0d-a635-3ff0f83120f0" providerId="AD"/>
  <p188:author id="{5E110EC4-730D-3C6B-D2B8-FDC87C7707B7}" name="Voloi Borges" initials="VB" userId="S::voloi.borges@ciriontechnologies.com::6ca9b507-887a-44a7-a779-c024ed686d28" providerId="AD"/>
  <p188:author id="{AF14B3F6-EAE7-FBA5-9F56-ACFA261AF34C}" name="Vasquez, Elsa" initials="" userId="S::elsa.vasquez@ciriontechnologies.com::32fb0393-16da-4142-a177-f84031d30ec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5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8DACD1-5301-4F62-8E7E-26646DCD2DD9}" v="77" dt="2024-04-29T15:52:56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581" y="31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microsoft.com/office/2018/10/relationships/authors" Target="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8CDF65AA-0363-94ED-7A11-841E23C6DE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F27CE9-B018-15F7-6563-F6EBD1F05BB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6EFDB2-F7F2-4EE1-956F-B83E29D87E38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1127DBB-1B98-1198-3A09-BDF06F1BD8D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7502D3-AF71-9696-14A4-26FE577F5B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B3816D-5FEF-49CF-B6B8-F897D5C4CB1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74329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EA51B6-A59E-4790-94A5-1D4EFD471058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B0F7B-8F4F-4149-966B-0F8660FE845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661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4864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231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007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888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929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103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087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46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208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798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088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533FE61B-B47E-40A7-BBFD-A272E8C702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630"/>
            <a:ext cx="12200627" cy="688024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7A3F0A1-5435-44A6-9307-89BE5052D0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DA56333-9278-4749-9E8A-C2310EAD6F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A2EC186A-5790-4BD6-AFEE-DB7F7AB75AC8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850997B-7DE4-0894-1C60-5E97FB1031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48343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ersonalizado">
    <p:bg>
      <p:bgPr>
        <a:solidFill>
          <a:srgbClr val="0016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DAFD034F-7089-736D-6ECF-B58280C2BB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" y="0"/>
            <a:ext cx="12203071" cy="685877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5CBC5B7-52D8-FD32-7215-A60C8909A8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7153" y="183975"/>
            <a:ext cx="1316418" cy="46151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5E09CE5F-81F9-1909-E365-FADDEBD4F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513" y="1630363"/>
            <a:ext cx="10006012" cy="38814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EDE37C64-5B9B-DCE1-560B-63322B7DF7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991470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38B0DFAE-F768-70BB-5A11-817E211E3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242550"/>
            <a:ext cx="5258345" cy="661545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7FC84A2-E4FC-946A-FB03-CF2F37EBC8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9772" y="1233577"/>
            <a:ext cx="6257839" cy="5287993"/>
          </a:xfrm>
        </p:spPr>
        <p:txBody>
          <a:bodyPr>
            <a:normAutofit/>
          </a:bodyPr>
          <a:lstStyle>
            <a:lvl1pPr marL="342900" indent="-342900">
              <a:buClr>
                <a:srgbClr val="29B6FF"/>
              </a:buClr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endParaRPr lang="en-US"/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9E93F009-89EA-ADAB-64FB-8EB88FE5B1E5}"/>
              </a:ext>
            </a:extLst>
          </p:cNvPr>
          <p:cNvSpPr txBox="1">
            <a:spLocks noGrp="1"/>
          </p:cNvSpPr>
          <p:nvPr>
            <p:ph type="body" sz="quarter" idx="22"/>
          </p:nvPr>
        </p:nvSpPr>
        <p:spPr>
          <a:xfrm>
            <a:off x="444389" y="2553419"/>
            <a:ext cx="4595260" cy="39681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/>
          </a:p>
        </p:txBody>
      </p:sp>
      <p:pic>
        <p:nvPicPr>
          <p:cNvPr id="13" name="Image">
            <a:extLst>
              <a:ext uri="{FF2B5EF4-FFF2-40B4-BE49-F238E27FC236}">
                <a16:creationId xmlns:a16="http://schemas.microsoft.com/office/drawing/2014/main" id="{225BB92D-C537-E36C-3BE7-CFEBC5CA79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Espaço Reservado para Número de Slide 6">
            <a:extLst>
              <a:ext uri="{FF2B5EF4-FFF2-40B4-BE49-F238E27FC236}">
                <a16:creationId xmlns:a16="http://schemas.microsoft.com/office/drawing/2014/main" id="{073C259B-6832-84C6-CFD3-AB54D4E20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C442A0CE-D672-12C2-57E5-88D76FE65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388" y="1671935"/>
            <a:ext cx="4595259" cy="800100"/>
          </a:xfrm>
        </p:spPr>
        <p:txBody>
          <a:bodyPr anchor="ctr">
            <a:noAutofit/>
          </a:bodyPr>
          <a:lstStyle>
            <a:lvl1pPr>
              <a:defRPr sz="2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D364506E-ACC5-8CDA-3235-20A2494FB9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4500" y="595313"/>
            <a:ext cx="3656013" cy="995362"/>
          </a:xfrm>
        </p:spPr>
        <p:txBody>
          <a:bodyPr anchor="ctr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8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94096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53B9B26-98C6-4FE3-8B36-5311F91A3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F99572C-99DC-45E0-ACEC-FD1CEBD397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4626" y="1753652"/>
            <a:ext cx="5531373" cy="469027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  <a:lvl2pPr>
              <a:defRPr sz="1800">
                <a:solidFill>
                  <a:srgbClr val="54565A"/>
                </a:solidFill>
              </a:defRPr>
            </a:lvl2pPr>
            <a:lvl3pPr>
              <a:defRPr sz="16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79A93F7-84B3-4BF7-9DCA-02F775961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4281" y="1753653"/>
            <a:ext cx="5569787" cy="4690278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  <a:lvl2pPr>
              <a:defRPr sz="1800">
                <a:solidFill>
                  <a:srgbClr val="54565A"/>
                </a:solidFill>
              </a:defRPr>
            </a:lvl2pPr>
            <a:lvl3pPr>
              <a:defRPr sz="16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9" name="Espaço Reservado para Conteúdo 11">
            <a:extLst>
              <a:ext uri="{FF2B5EF4-FFF2-40B4-BE49-F238E27FC236}">
                <a16:creationId xmlns:a16="http://schemas.microsoft.com/office/drawing/2014/main" id="{20D697D0-E13C-4926-A290-74B23E89D3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46381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FFDE18-0EC8-DCDC-8545-6879D6FE35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920929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9E9BFB-16AE-44FF-BFA4-2ED4DA32C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627" y="230503"/>
            <a:ext cx="9889151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6E5F10F-27C3-48D4-808D-85077720C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626" y="1681163"/>
            <a:ext cx="5432949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399E958-5F8B-41F0-82A8-45C2579D6B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4626" y="2574083"/>
            <a:ext cx="5432949" cy="3895728"/>
          </a:xfrm>
        </p:spPr>
        <p:txBody>
          <a:bodyPr>
            <a:normAutofit/>
          </a:bodyPr>
          <a:lstStyle>
            <a:lvl1pPr>
              <a:defRPr sz="2400">
                <a:solidFill>
                  <a:srgbClr val="54565A"/>
                </a:solidFill>
              </a:defRPr>
            </a:lvl1pPr>
            <a:lvl2pPr>
              <a:defRPr sz="2000">
                <a:solidFill>
                  <a:srgbClr val="54565A"/>
                </a:solidFill>
              </a:defRPr>
            </a:lvl2pPr>
            <a:lvl3pPr>
              <a:defRPr sz="18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B5D2D20-1453-41DF-9F21-D5DFA769C4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663244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EF68262-2661-4546-BCF2-C6D507789C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80825" y="2582709"/>
            <a:ext cx="5663243" cy="3887102"/>
          </a:xfrm>
        </p:spPr>
        <p:txBody>
          <a:bodyPr>
            <a:normAutofit/>
          </a:bodyPr>
          <a:lstStyle>
            <a:lvl1pPr>
              <a:defRPr sz="2400">
                <a:solidFill>
                  <a:srgbClr val="54565A"/>
                </a:solidFill>
              </a:defRPr>
            </a:lvl1pPr>
            <a:lvl2pPr>
              <a:defRPr sz="2000">
                <a:solidFill>
                  <a:srgbClr val="54565A"/>
                </a:solidFill>
              </a:defRPr>
            </a:lvl2pPr>
            <a:lvl3pPr>
              <a:defRPr sz="18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3FFF7649-CEBF-4FD4-B9FA-F5490E6255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46381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00A7E1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9" name="Espaço Reservado para Número de Slide 6">
            <a:extLst>
              <a:ext uri="{FF2B5EF4-FFF2-40B4-BE49-F238E27FC236}">
                <a16:creationId xmlns:a16="http://schemas.microsoft.com/office/drawing/2014/main" id="{2438F38C-2C0D-E325-E873-49887DA666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02526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456284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Body Level One…">
            <a:extLst>
              <a:ext uri="{FF2B5EF4-FFF2-40B4-BE49-F238E27FC236}">
                <a16:creationId xmlns:a16="http://schemas.microsoft.com/office/drawing/2014/main" id="{A546CA94-CA50-114C-F852-320809B28940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3" y="1854929"/>
            <a:ext cx="11291731" cy="4571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1866161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Espaço Reservado para Conteúdo 11">
            <a:extLst>
              <a:ext uri="{FF2B5EF4-FFF2-40B4-BE49-F238E27FC236}">
                <a16:creationId xmlns:a16="http://schemas.microsoft.com/office/drawing/2014/main" id="{4979C666-50DA-048D-C5B3-3D2FC1FB53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9859990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6" name="Body Level One…">
            <a:extLst>
              <a:ext uri="{FF2B5EF4-FFF2-40B4-BE49-F238E27FC236}">
                <a16:creationId xmlns:a16="http://schemas.microsoft.com/office/drawing/2014/main" id="{D819624F-D822-6F2D-A037-0EAD6DBE068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3" y="1854929"/>
            <a:ext cx="11291731" cy="4571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85094834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ody Level One…">
            <a:extLst>
              <a:ext uri="{FF2B5EF4-FFF2-40B4-BE49-F238E27FC236}">
                <a16:creationId xmlns:a16="http://schemas.microsoft.com/office/drawing/2014/main" id="{F1C6B800-7DB1-D5E1-1A0B-74AE0E6C354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4" y="1374547"/>
            <a:ext cx="5011947" cy="4655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/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EA995B3E-A580-F1C0-43E2-364F97324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pic>
        <p:nvPicPr>
          <p:cNvPr id="15" name="Image">
            <a:extLst>
              <a:ext uri="{FF2B5EF4-FFF2-40B4-BE49-F238E27FC236}">
                <a16:creationId xmlns:a16="http://schemas.microsoft.com/office/drawing/2014/main" id="{540470C7-55CC-4B79-B957-6C00A0878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Espaço Reservado para Número de Slide 6">
            <a:extLst>
              <a:ext uri="{FF2B5EF4-FFF2-40B4-BE49-F238E27FC236}">
                <a16:creationId xmlns:a16="http://schemas.microsoft.com/office/drawing/2014/main" id="{1DCE0EB9-0869-DC0B-419A-8D2928B309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Content Placeholder 9" descr="Content Placeholder 9">
            <a:extLst>
              <a:ext uri="{FF2B5EF4-FFF2-40B4-BE49-F238E27FC236}">
                <a16:creationId xmlns:a16="http://schemas.microsoft.com/office/drawing/2014/main" id="{A72B8EDE-9CA3-3919-A415-1FAC36ABEF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6897" y="1374547"/>
            <a:ext cx="6455103" cy="465532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Blue-touch.png" descr="Blue-touch.png">
            <a:extLst>
              <a:ext uri="{FF2B5EF4-FFF2-40B4-BE49-F238E27FC236}">
                <a16:creationId xmlns:a16="http://schemas.microsoft.com/office/drawing/2014/main" id="{E2237FC9-4092-10BF-2098-EF36D21D29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3353" y="1382539"/>
            <a:ext cx="3648647" cy="493050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4981388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1" descr="Picture 11">
            <a:extLst>
              <a:ext uri="{FF2B5EF4-FFF2-40B4-BE49-F238E27FC236}">
                <a16:creationId xmlns:a16="http://schemas.microsoft.com/office/drawing/2014/main" id="{18FBBD4B-51E7-3870-F205-4BCD849C9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" y="-12877"/>
            <a:ext cx="12183280" cy="687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Blue-touch.png" descr="Blue-touch.png">
            <a:extLst>
              <a:ext uri="{FF2B5EF4-FFF2-40B4-BE49-F238E27FC236}">
                <a16:creationId xmlns:a16="http://schemas.microsoft.com/office/drawing/2014/main" id="{7D24D146-40F9-C178-1F3F-7A70582FC8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9" y="-9923"/>
            <a:ext cx="12192239" cy="687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>
            <a:extLst>
              <a:ext uri="{FF2B5EF4-FFF2-40B4-BE49-F238E27FC236}">
                <a16:creationId xmlns:a16="http://schemas.microsoft.com/office/drawing/2014/main" id="{67A48963-26B3-CB00-92F0-0042D7C83A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74997"/>
            <a:ext cx="1516898" cy="65953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Body Level One…">
            <a:extLst>
              <a:ext uri="{FF2B5EF4-FFF2-40B4-BE49-F238E27FC236}">
                <a16:creationId xmlns:a16="http://schemas.microsoft.com/office/drawing/2014/main" id="{4CFBFDC6-DC99-F846-BA9D-20877F7D637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4" y="1210653"/>
            <a:ext cx="11188460" cy="47643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BB60A17A-45C6-4AD8-E426-43DB29E68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3" y="227105"/>
            <a:ext cx="11188459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60482924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>
            <a:extLst>
              <a:ext uri="{FF2B5EF4-FFF2-40B4-BE49-F238E27FC236}">
                <a16:creationId xmlns:a16="http://schemas.microsoft.com/office/drawing/2014/main" id="{2AADC7D3-E8E5-35A7-466D-EB0A86763E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810" y="0"/>
            <a:ext cx="12203619" cy="6864382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Blue-touch.png" descr="Blue-touch.png">
            <a:extLst>
              <a:ext uri="{FF2B5EF4-FFF2-40B4-BE49-F238E27FC236}">
                <a16:creationId xmlns:a16="http://schemas.microsoft.com/office/drawing/2014/main" id="{617C33A9-B77F-A865-2434-A74B94E019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619" y="1"/>
            <a:ext cx="12203619" cy="686438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itle Text">
            <a:extLst>
              <a:ext uri="{FF2B5EF4-FFF2-40B4-BE49-F238E27FC236}">
                <a16:creationId xmlns:a16="http://schemas.microsoft.com/office/drawing/2014/main" id="{5FFA4D56-6A2E-3B24-872F-5B75FA29BFC7}"/>
              </a:ext>
            </a:extLst>
          </p:cNvPr>
          <p:cNvSpPr txBox="1"/>
          <p:nvPr userDrawn="1"/>
        </p:nvSpPr>
        <p:spPr>
          <a:xfrm>
            <a:off x="405149" y="135148"/>
            <a:ext cx="11381704" cy="8218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:p15="http://schemas.microsoft.com/office/powerpoint/2012/main" xmlns:p14="http://schemas.microsoft.com/office/powerpoint/2010/main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28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1pPr>
            <a:lvl2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2pPr>
            <a:lvl3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3pPr>
            <a:lvl4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4pPr>
            <a:lvl5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5pPr>
            <a:lvl6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6pPr>
            <a:lvl7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7pPr>
            <a:lvl8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8pPr>
            <a:lvl9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9pPr>
          </a:lstStyle>
          <a:p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56357BA0-465E-33EE-8319-8AF871BA487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05148" y="1146610"/>
            <a:ext cx="11381704" cy="453027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1" spc="-54">
                <a:solidFill>
                  <a:srgbClr val="5456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5" name="Image">
            <a:extLst>
              <a:ext uri="{FF2B5EF4-FFF2-40B4-BE49-F238E27FC236}">
                <a16:creationId xmlns:a16="http://schemas.microsoft.com/office/drawing/2014/main" id="{D51B9DD8-FAF0-F20B-01F9-006CA3F08B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82117"/>
            <a:ext cx="1519431" cy="6606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3121002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34AA294B-EF41-718D-CEC4-E84FEE2B67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960"/>
            <a:ext cx="12200626" cy="6859960"/>
          </a:xfrm>
          <a:prstGeom prst="rect">
            <a:avLst/>
          </a:prstGeom>
        </p:spPr>
      </p:pic>
      <p:sp>
        <p:nvSpPr>
          <p:cNvPr id="14" name="Retângulo 7">
            <a:extLst>
              <a:ext uri="{FF2B5EF4-FFF2-40B4-BE49-F238E27FC236}">
                <a16:creationId xmlns:a16="http://schemas.microsoft.com/office/drawing/2014/main" id="{0DEE6CB7-86D5-9A80-FADC-9D89145116AB}"/>
              </a:ext>
            </a:extLst>
          </p:cNvPr>
          <p:cNvSpPr/>
          <p:nvPr userDrawn="1"/>
        </p:nvSpPr>
        <p:spPr>
          <a:xfrm>
            <a:off x="-8626" y="1191"/>
            <a:ext cx="12200626" cy="6856809"/>
          </a:xfrm>
          <a:prstGeom prst="rect">
            <a:avLst/>
          </a:prstGeom>
          <a:solidFill>
            <a:srgbClr val="001689">
              <a:alpha val="3019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400" cap="all">
                <a:solidFill>
                  <a:srgbClr val="FFFFFF"/>
                </a:solidFill>
                <a:latin typeface="Maven Pro Bold"/>
                <a:ea typeface="Maven Pro Bold"/>
                <a:cs typeface="Maven Pro Bold"/>
                <a:sym typeface="Maven Pro Bold"/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50BD333E-C48D-014D-300A-8F451AC07D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Subtítulo 2">
            <a:extLst>
              <a:ext uri="{FF2B5EF4-FFF2-40B4-BE49-F238E27FC236}">
                <a16:creationId xmlns:a16="http://schemas.microsoft.com/office/drawing/2014/main" id="{6EBCE26F-C1D7-2EF1-AA3D-8A7B0CE9C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9E61265B-DF69-75E9-0453-F185C8FC4560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76464B2-74C3-6816-22A6-9ABD362A30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3364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>
            <a:extLst>
              <a:ext uri="{FF2B5EF4-FFF2-40B4-BE49-F238E27FC236}">
                <a16:creationId xmlns:a16="http://schemas.microsoft.com/office/drawing/2014/main" id="{15260BF2-A5FA-D041-1EDA-4159609C66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297"/>
            <a:ext cx="12192000" cy="6870297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lue-touch.png" descr="Blue-touch.png">
            <a:extLst>
              <a:ext uri="{FF2B5EF4-FFF2-40B4-BE49-F238E27FC236}">
                <a16:creationId xmlns:a16="http://schemas.microsoft.com/office/drawing/2014/main" id="{26B12306-27D5-0193-F5E2-5C4A69C0B6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2879"/>
            <a:ext cx="12191999" cy="6887455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Body Level One…">
            <a:extLst>
              <a:ext uri="{FF2B5EF4-FFF2-40B4-BE49-F238E27FC236}">
                <a16:creationId xmlns:a16="http://schemas.microsoft.com/office/drawing/2014/main" id="{5972204C-931C-DFA4-BAEB-E4DD1BA1B54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87663" y="192611"/>
            <a:ext cx="5218810" cy="18118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0" spc="-54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9" name="Image">
            <a:extLst>
              <a:ext uri="{FF2B5EF4-FFF2-40B4-BE49-F238E27FC236}">
                <a16:creationId xmlns:a16="http://schemas.microsoft.com/office/drawing/2014/main" id="{19896D1E-FE98-AA6E-E76D-FF3C909650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82117"/>
            <a:ext cx="1519431" cy="6606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82017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>
            <a:extLst>
              <a:ext uri="{FF2B5EF4-FFF2-40B4-BE49-F238E27FC236}">
                <a16:creationId xmlns:a16="http://schemas.microsoft.com/office/drawing/2014/main" id="{DDDD684A-C5EF-C2D2-DD03-07E8C9C9EC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59" y="0"/>
            <a:ext cx="12213443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lue-touch.png" descr="Blue-touch.png">
            <a:extLst>
              <a:ext uri="{FF2B5EF4-FFF2-40B4-BE49-F238E27FC236}">
                <a16:creationId xmlns:a16="http://schemas.microsoft.com/office/drawing/2014/main" id="{23AF0584-3207-F80C-A4B6-5D74A9EA40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581" y="0"/>
            <a:ext cx="7970627" cy="5308343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Text">
            <a:extLst>
              <a:ext uri="{FF2B5EF4-FFF2-40B4-BE49-F238E27FC236}">
                <a16:creationId xmlns:a16="http://schemas.microsoft.com/office/drawing/2014/main" id="{AA793286-0D43-3C27-5AD9-7E17A2F8A774}"/>
              </a:ext>
            </a:extLst>
          </p:cNvPr>
          <p:cNvSpPr txBox="1"/>
          <p:nvPr userDrawn="1"/>
        </p:nvSpPr>
        <p:spPr>
          <a:xfrm>
            <a:off x="457197" y="152400"/>
            <a:ext cx="9487499" cy="834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:p15="http://schemas.microsoft.com/office/powerpoint/2012/main" xmlns:p14="http://schemas.microsoft.com/office/powerpoint/2010/main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28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1pPr>
            <a:lvl2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2pPr>
            <a:lvl3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3pPr>
            <a:lvl4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4pPr>
            <a:lvl5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5pPr>
            <a:lvl6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6pPr>
            <a:lvl7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7pPr>
            <a:lvl8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8pPr>
            <a:lvl9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9pPr>
          </a:lstStyle>
          <a:p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46187CC5-80CE-D0B9-6EFD-0C9C41FF68C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3106" y="1167431"/>
            <a:ext cx="10785789" cy="452313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0" spc="-54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4" name="Image">
            <a:extLst>
              <a:ext uri="{FF2B5EF4-FFF2-40B4-BE49-F238E27FC236}">
                <a16:creationId xmlns:a16="http://schemas.microsoft.com/office/drawing/2014/main" id="{A438225D-CF1E-8145-E5B5-798B624071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84" y="194897"/>
            <a:ext cx="1517037" cy="6595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196891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E6D602-AEEB-470F-B29D-C6EFC58F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EF8FF7A-21D2-4E90-A3D0-7C715A6FD9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8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8F7E688-E2AC-40A4-9137-9D5B9D4BAF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246AF30D-509D-9010-B559-AC633B853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24041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93701F1-00B5-42FC-9782-0648D2CA13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70B88A7-0865-4623-93DA-6D0A8F3A6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">
            <a:extLst>
              <a:ext uri="{FF2B5EF4-FFF2-40B4-BE49-F238E27FC236}">
                <a16:creationId xmlns:a16="http://schemas.microsoft.com/office/drawing/2014/main" id="{EF1D0FD4-B49D-2CAB-DF8D-400EFCF5DA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 rot="5400000">
            <a:off x="10892530" y="5455605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C2B1BFB-24A5-062A-5A4F-A84CE5D08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5400000">
            <a:off x="-76589" y="6385620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</a:defRPr>
            </a:lvl1pPr>
          </a:lstStyle>
          <a:p>
            <a:fld id="{254489CB-8CCE-469D-921E-5E01670C60C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933230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fin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283EDD47-E4F6-9A3A-88B2-0FD8D60E27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13" y="60"/>
            <a:ext cx="12191925" cy="685793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B780E4A3-25C8-B22C-CD32-244EF59B95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5" name="Título 2">
            <a:extLst>
              <a:ext uri="{FF2B5EF4-FFF2-40B4-BE49-F238E27FC236}">
                <a16:creationId xmlns:a16="http://schemas.microsoft.com/office/drawing/2014/main" id="{839CCE63-8C9B-D36D-E467-80C2C4CE6F84}"/>
              </a:ext>
            </a:extLst>
          </p:cNvPr>
          <p:cNvSpPr txBox="1"/>
          <p:nvPr userDrawn="1"/>
        </p:nvSpPr>
        <p:spPr>
          <a:xfrm>
            <a:off x="1153473" y="5067735"/>
            <a:ext cx="7930037" cy="9486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:p15="http://schemas.microsoft.com/office/powerpoint/2012/main" xmlns:p14="http://schemas.microsoft.com/office/powerpoint/2010/main" xmlns="" val="1"/>
            </a:ext>
          </a:extLst>
        </p:spPr>
        <p:txBody>
          <a:bodyPr lIns="45719" rIns="45719" anchor="b">
            <a:normAutofit/>
          </a:bodyPr>
          <a:lstStyle>
            <a:lvl1pPr>
              <a:spcBef>
                <a:spcPct val="0"/>
              </a:spcBef>
              <a:defRPr sz="1200" spc="-33">
                <a:solidFill>
                  <a:srgbClr val="FFFFFF"/>
                </a:solidFill>
              </a:defRPr>
            </a:lvl1pPr>
          </a:lstStyle>
          <a:p>
            <a:r>
              <a:rPr lang="en-US" sz="1600" b="0" i="0" strike="noStrike" cap="none" spc="-33" baseline="0">
                <a:solidFill>
                  <a:srgbClr val="FFFFFF"/>
                </a:solidFill>
                <a:effectLst/>
                <a:latin typeface="Arial"/>
                <a:ea typeface="Arial"/>
                <a:cs typeface="Arial"/>
              </a:rPr>
              <a:t>ciriontechnologies.com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F212B5B-1FC1-47F0-3C91-4CA9019C7D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1828" y="5885796"/>
            <a:ext cx="1353397" cy="703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42125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e Conteúdo">
  <p:cSld name="3_Título e Conteúdo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3"/>
          <p:cNvSpPr txBox="1"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1689"/>
              </a:buClr>
              <a:buSzPts val="36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3"/>
          <p:cNvSpPr txBox="1">
            <a:spLocks noGrp="1"/>
          </p:cNvSpPr>
          <p:nvPr>
            <p:ph type="body" idx="1"/>
          </p:nvPr>
        </p:nvSpPr>
        <p:spPr>
          <a:xfrm>
            <a:off x="569344" y="1111877"/>
            <a:ext cx="11274724" cy="484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29B6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2000"/>
              <a:buChar char="•"/>
              <a:defRPr>
                <a:solidFill>
                  <a:srgbClr val="29B6FF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43"/>
          <p:cNvSpPr txBox="1">
            <a:spLocks noGrp="1"/>
          </p:cNvSpPr>
          <p:nvPr>
            <p:ph type="sldNum" idx="12"/>
          </p:nvPr>
        </p:nvSpPr>
        <p:spPr>
          <a:xfrm>
            <a:off x="806161" y="6600357"/>
            <a:ext cx="677577" cy="214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A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15445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m Branco" type="blank">
  <p:cSld name="Em Branco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5"/>
          <p:cNvSpPr txBox="1">
            <a:spLocks noGrp="1"/>
          </p:cNvSpPr>
          <p:nvPr>
            <p:ph type="sldNum" idx="12"/>
          </p:nvPr>
        </p:nvSpPr>
        <p:spPr>
          <a:xfrm>
            <a:off x="806161" y="6600357"/>
            <a:ext cx="677577" cy="214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AR"/>
              <a:t>‹Nº›</a:t>
            </a:fld>
            <a:endParaRPr/>
          </a:p>
        </p:txBody>
      </p:sp>
      <p:pic>
        <p:nvPicPr>
          <p:cNvPr id="57" name="Google Shape;57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446589" y="155281"/>
            <a:ext cx="1498540" cy="57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08257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1DC3B6-45A0-8242-92C8-3ECAB27A2DA8}"/>
              </a:ext>
            </a:extLst>
          </p:cNvPr>
          <p:cNvSpPr/>
          <p:nvPr userDrawn="1"/>
        </p:nvSpPr>
        <p:spPr>
          <a:xfrm>
            <a:off x="0" y="0"/>
            <a:ext cx="12192000" cy="247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DC30AD-B46C-2D47-8898-A25FD2603CE9}"/>
              </a:ext>
            </a:extLst>
          </p:cNvPr>
          <p:cNvSpPr/>
          <p:nvPr userDrawn="1"/>
        </p:nvSpPr>
        <p:spPr>
          <a:xfrm>
            <a:off x="1" y="0"/>
            <a:ext cx="29980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56A892-D42B-F94C-A306-4A6E49A13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7680"/>
            <a:ext cx="10972800" cy="8349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65BCC9-3271-D040-98FE-4E6BE8C16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9919" y="6389720"/>
            <a:ext cx="5296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078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353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 Basic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D8D7DD-7262-4500-B4DA-8F42AA6C3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6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3" imgH="457" progId="TCLayout.ActiveDocument.1">
                  <p:embed/>
                </p:oleObj>
              </mc:Choice>
              <mc:Fallback>
                <p:oleObj name="think-cell Slide" r:id="rId3" imgW="463" imgH="4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D8D7DD-7262-4500-B4DA-8F42AA6C3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69EEA-9E70-8049-B31C-4D59E4B792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71B882E3-AA57-DB47-B7F5-4E115F25E2D7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6AF662F-5FB5-374D-A851-A69DE83E0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636" y="684019"/>
            <a:ext cx="11294451" cy="10304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rtl="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defRPr sz="3600" b="1" i="0">
                <a:latin typeface="Graphik" panose="020B0503030202060203" pitchFamily="34" charset="77"/>
              </a:defRPr>
            </a:lvl1pPr>
          </a:lstStyle>
          <a:p>
            <a:pPr lvl="0"/>
            <a:r>
              <a:rPr lang="pt-BR"/>
              <a:t>Click </a:t>
            </a:r>
            <a:r>
              <a:rPr lang="pt-BR" err="1"/>
              <a:t>to</a:t>
            </a:r>
            <a:r>
              <a:rPr lang="pt-BR"/>
              <a:t> </a:t>
            </a:r>
            <a:r>
              <a:rPr lang="pt-BR" err="1"/>
              <a:t>edit</a:t>
            </a:r>
            <a:r>
              <a:rPr lang="pt-BR"/>
              <a:t> </a:t>
            </a:r>
            <a:r>
              <a:rPr lang="pt-BR" err="1"/>
              <a:t>this</a:t>
            </a:r>
            <a:r>
              <a:rPr lang="pt-BR"/>
              <a:t> master </a:t>
            </a:r>
            <a:r>
              <a:rPr lang="pt-BR" err="1"/>
              <a:t>title</a:t>
            </a:r>
            <a:endParaRPr lang="pt-BR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E6C0E45-523A-B84F-B606-437944DDFA6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635" y="444948"/>
            <a:ext cx="11286000" cy="21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rtl="0">
              <a:lnSpc>
                <a:spcPct val="80000"/>
              </a:lnSpc>
              <a:spcBef>
                <a:spcPts val="0"/>
              </a:spcBef>
              <a:defRPr sz="1000" b="1" i="0" cap="none" spc="200" baseline="0">
                <a:solidFill>
                  <a:schemeClr val="accent1"/>
                </a:solidFill>
                <a:latin typeface="Graphik" panose="020B0503030202060203" pitchFamily="34" charset="77"/>
              </a:defRPr>
            </a:lvl1pPr>
            <a:lvl2pPr>
              <a:defRPr sz="1000" b="1" i="0" cap="none" spc="100">
                <a:latin typeface="Graphik Semibold" panose="020B0503030202060203" pitchFamily="34" charset="77"/>
              </a:defRPr>
            </a:lvl2pPr>
            <a:lvl3pPr>
              <a:defRPr sz="1000" b="1" i="0" cap="none" spc="100">
                <a:latin typeface="Graphik Semibold" panose="020B0503030202060203" pitchFamily="34" charset="77"/>
              </a:defRPr>
            </a:lvl3pPr>
            <a:lvl4pPr>
              <a:defRPr sz="1000" b="1" i="0" cap="none" spc="100">
                <a:latin typeface="Graphik Semibold" panose="020B0503030202060203" pitchFamily="34" charset="77"/>
              </a:defRPr>
            </a:lvl4pPr>
            <a:lvl5pPr>
              <a:defRPr sz="1000" b="1" i="0" cap="none" spc="100">
                <a:latin typeface="Graphik Semibold" panose="020B0503030202060203" pitchFamily="34" charset="77"/>
              </a:defRPr>
            </a:lvl5pPr>
          </a:lstStyle>
          <a:p>
            <a:pPr lvl="0"/>
            <a:r>
              <a:rPr lang="pt-BR"/>
              <a:t>USE CAPS FOR THIS SECTION TITLE IF NEED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F29A88-3B9F-471C-9855-DCDFF39A9A07}"/>
              </a:ext>
            </a:extLst>
          </p:cNvPr>
          <p:cNvSpPr txBox="1"/>
          <p:nvPr userDrawn="1"/>
        </p:nvSpPr>
        <p:spPr>
          <a:xfrm>
            <a:off x="717884" y="6620246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Copyright © 2021 Accenture.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All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rights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reserved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6542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AFD18F94-E217-D261-ED01-760016D6504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2082">
                <a:srgbClr val="00005B"/>
              </a:gs>
              <a:gs pos="57959">
                <a:srgbClr val="001689"/>
              </a:gs>
              <a:gs pos="84263">
                <a:srgbClr val="0031A0"/>
              </a:gs>
              <a:gs pos="100000">
                <a:srgbClr val="004CB8"/>
              </a:gs>
            </a:gsLst>
            <a:lin ang="16200000"/>
          </a:gradFill>
          <a:ln w="12700">
            <a:miter lim="400000"/>
          </a:ln>
        </p:spPr>
        <p:txBody>
          <a:bodyPr lIns="45719" rIns="45719" anchor="ctr"/>
          <a:lstStyle/>
          <a:p>
            <a:pPr>
              <a:defRPr sz="1400" cap="all">
                <a:latin typeface="Maven Pro Bold"/>
                <a:ea typeface="Maven Pro Bold"/>
                <a:cs typeface="Maven Pro Bold"/>
                <a:sym typeface="Maven Pro Bold"/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46D16EDB-D697-CC1F-FBB4-51100F24CF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F1D46137-4EBA-2C15-96C8-8F6CCB77FB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B62788AF-8303-8A52-5FF5-974494D28EFF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57C11C7-E7A6-8CE1-CA64-0888466B81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7959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223EBB3E-B912-90D7-AEC2-92C2C7AD9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61892" y="-1902"/>
            <a:ext cx="3420000" cy="31191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Body Level One…">
            <a:extLst>
              <a:ext uri="{FF2B5EF4-FFF2-40B4-BE49-F238E27FC236}">
                <a16:creationId xmlns:a16="http://schemas.microsoft.com/office/drawing/2014/main" id="{4B62E753-A3FF-7D5A-10D2-8A8DEB395F5B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037573" y="4844547"/>
            <a:ext cx="7569200" cy="6829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6945A583-A3A8-124A-58EB-2A1E572B59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37573" y="3556963"/>
            <a:ext cx="7569200" cy="1259183"/>
          </a:xfrm>
          <a:prstGeom prst="rect">
            <a:avLst/>
          </a:prstGeom>
        </p:spPr>
        <p:txBody>
          <a:bodyPr anchor="b"/>
          <a:lstStyle>
            <a:lvl1pPr>
              <a:defRPr spc="-150"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</a:lstStyle>
          <a:p>
            <a:r>
              <a:rPr lang="pt-BR"/>
              <a:t>Clique para editar o título Mestre</a:t>
            </a:r>
            <a:endParaRPr/>
          </a:p>
        </p:txBody>
      </p:sp>
      <p:pic>
        <p:nvPicPr>
          <p:cNvPr id="15" name="Picture 11" descr="Picture 11">
            <a:extLst>
              <a:ext uri="{FF2B5EF4-FFF2-40B4-BE49-F238E27FC236}">
                <a16:creationId xmlns:a16="http://schemas.microsoft.com/office/drawing/2014/main" id="{DF3ECDD5-EBB0-592A-EBDD-5653BBF7B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795" y="1586791"/>
            <a:ext cx="2060193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76B765B-A2D1-F4AB-F8EF-CD26F67082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7573" y="5551604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10182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 descr="Image">
            <a:extLst>
              <a:ext uri="{FF2B5EF4-FFF2-40B4-BE49-F238E27FC236}">
                <a16:creationId xmlns:a16="http://schemas.microsoft.com/office/drawing/2014/main" id="{D11EBCCA-C26C-8EB3-CB52-D32A4E5514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003EEAB6-D056-47E5-9756-BB2AD7C012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393" y="6141834"/>
            <a:ext cx="1334916" cy="468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B780E4A3-25C8-B22C-CD32-244EF59B95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2191" y="2963669"/>
            <a:ext cx="9693215" cy="930662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50765057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00986E-F859-4519-9FF0-444F3B629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441285"/>
            <a:ext cx="10515600" cy="1931418"/>
          </a:xfrm>
        </p:spPr>
        <p:txBody>
          <a:bodyPr anchor="ctr">
            <a:normAutofit/>
          </a:bodyPr>
          <a:lstStyle>
            <a:lvl1pPr>
              <a:defRPr sz="4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C5AFCC7-9F6A-41A1-A6FB-75F912BF4D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399691"/>
            <a:ext cx="10515600" cy="802037"/>
          </a:xfrm>
        </p:spPr>
        <p:txBody>
          <a:bodyPr/>
          <a:lstStyle>
            <a:lvl1pPr marL="0" indent="0">
              <a:buNone/>
              <a:defRPr sz="24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C78F4E4C-C7A2-4636-BE8E-CF37ED8E2AD7}"/>
              </a:ext>
            </a:extLst>
          </p:cNvPr>
          <p:cNvSpPr/>
          <p:nvPr userDrawn="1"/>
        </p:nvSpPr>
        <p:spPr>
          <a:xfrm>
            <a:off x="407880" y="6459410"/>
            <a:ext cx="11772000" cy="3899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49A93563-E284-4B4F-9C3E-23C155EE3611}"/>
              </a:ext>
            </a:extLst>
          </p:cNvPr>
          <p:cNvGrpSpPr/>
          <p:nvPr userDrawn="1"/>
        </p:nvGrpSpPr>
        <p:grpSpPr>
          <a:xfrm>
            <a:off x="-1220" y="458072"/>
            <a:ext cx="266758" cy="6408000"/>
            <a:chOff x="-7945" y="458072"/>
            <a:chExt cx="324001" cy="4691778"/>
          </a:xfrm>
        </p:grpSpPr>
        <p:sp>
          <p:nvSpPr>
            <p:cNvPr id="9" name="Rectangle">
              <a:extLst>
                <a:ext uri="{FF2B5EF4-FFF2-40B4-BE49-F238E27FC236}">
                  <a16:creationId xmlns:a16="http://schemas.microsoft.com/office/drawing/2014/main" id="{2B46A1B4-DED1-40FA-ADDE-80B6F2BC2A3A}"/>
                </a:ext>
              </a:extLst>
            </p:cNvPr>
            <p:cNvSpPr/>
            <p:nvPr/>
          </p:nvSpPr>
          <p:spPr>
            <a:xfrm rot="5400000">
              <a:off x="-1973196" y="2860600"/>
              <a:ext cx="4254501" cy="324000"/>
            </a:xfrm>
            <a:prstGeom prst="rect">
              <a:avLst/>
            </a:prstGeom>
            <a:solidFill>
              <a:srgbClr val="051682"/>
            </a:solidFill>
            <a:ln w="12700">
              <a:miter lim="400000"/>
            </a:ln>
          </p:spPr>
          <p:txBody>
            <a:bodyPr lIns="45718" tIns="45718" rIns="45718" bIns="45718" anchor="ctr"/>
            <a:lstStyle/>
            <a:p>
              <a:endParaRPr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" name="Image" descr="Image">
              <a:extLst>
                <a:ext uri="{FF2B5EF4-FFF2-40B4-BE49-F238E27FC236}">
                  <a16:creationId xmlns:a16="http://schemas.microsoft.com/office/drawing/2014/main" id="{67C41081-3432-4818-9A12-12D826B94D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7885" y="458072"/>
              <a:ext cx="323941" cy="437184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410517991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60C149-70FA-4424-90BD-746F96BA0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44" y="1690539"/>
            <a:ext cx="11274724" cy="4805152"/>
          </a:xfrm>
        </p:spPr>
        <p:txBody>
          <a:bodyPr/>
          <a:lstStyle>
            <a:lvl1pPr>
              <a:defRPr>
                <a:solidFill>
                  <a:srgbClr val="54565A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ABBFAE6B-7A3A-32FB-AB0C-F64C47BA5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5130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60C149-70FA-4424-90BD-746F96BA0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44" y="1690539"/>
            <a:ext cx="7211682" cy="4805152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7211682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39D0B642-429F-CFE1-9D8F-F630D7F287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01796" y="1111250"/>
            <a:ext cx="3942543" cy="5384800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15F5F57-76F8-BEB5-51C6-2AC0226A1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146609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5" name="Espaço Reservado para Número de Slide 6">
            <a:extLst>
              <a:ext uri="{FF2B5EF4-FFF2-40B4-BE49-F238E27FC236}">
                <a16:creationId xmlns:a16="http://schemas.microsoft.com/office/drawing/2014/main" id="{57F8C3E7-F9B2-0A2A-297C-1482A6E20F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378697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827FA46-A973-4D16-AFF1-60BFB5CC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BCB8DF6-88EE-49FC-81A3-3025A7AE65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344" y="1155940"/>
            <a:ext cx="11274724" cy="5331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pt-BR"/>
          </a:p>
          <a:p>
            <a:pPr lvl="1"/>
            <a:endParaRPr lang="pt-BR"/>
          </a:p>
          <a:p>
            <a:pPr lvl="2"/>
            <a:endParaRPr lang="pt-BR"/>
          </a:p>
          <a:p>
            <a:pPr lvl="2"/>
            <a:endParaRPr lang="pt-BR"/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02238F26-FCBD-4136-9CCF-D0B755C12AEB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6374C4FB-B7F6-4B0E-A357-D68D36985D57}"/>
              </a:ext>
            </a:extLst>
          </p:cNvPr>
          <p:cNvGrpSpPr/>
          <p:nvPr userDrawn="1"/>
        </p:nvGrpSpPr>
        <p:grpSpPr>
          <a:xfrm>
            <a:off x="569344" y="6592689"/>
            <a:ext cx="11628000" cy="265490"/>
            <a:chOff x="236338" y="4801393"/>
            <a:chExt cx="8912299" cy="342108"/>
          </a:xfrm>
        </p:grpSpPr>
        <p:sp>
          <p:nvSpPr>
            <p:cNvPr id="9" name="Rectangle">
              <a:extLst>
                <a:ext uri="{FF2B5EF4-FFF2-40B4-BE49-F238E27FC236}">
                  <a16:creationId xmlns:a16="http://schemas.microsoft.com/office/drawing/2014/main" id="{2AEA1FC8-88EA-45BB-8BF4-B0E1A0BF3BEA}"/>
                </a:ext>
              </a:extLst>
            </p:cNvPr>
            <p:cNvSpPr/>
            <p:nvPr/>
          </p:nvSpPr>
          <p:spPr>
            <a:xfrm>
              <a:off x="644440" y="4801393"/>
              <a:ext cx="8504197" cy="342107"/>
            </a:xfrm>
            <a:prstGeom prst="rect">
              <a:avLst/>
            </a:prstGeom>
            <a:solidFill>
              <a:srgbClr val="051682"/>
            </a:solidFill>
            <a:ln w="12700">
              <a:miter lim="400000"/>
            </a:ln>
          </p:spPr>
          <p:txBody>
            <a:bodyPr lIns="45718" tIns="45718" rIns="45718" bIns="45718" anchor="ctr"/>
            <a:lstStyle/>
            <a:p>
              <a:endParaRPr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" name="Image" descr="Image">
              <a:extLst>
                <a:ext uri="{FF2B5EF4-FFF2-40B4-BE49-F238E27FC236}">
                  <a16:creationId xmlns:a16="http://schemas.microsoft.com/office/drawing/2014/main" id="{8C3F197F-8CD6-4EE4-9519-AEC52F49B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286195" y="4751598"/>
              <a:ext cx="342046" cy="44175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8" name="Espaço Reservado para Número de Slide 6">
            <a:extLst>
              <a:ext uri="{FF2B5EF4-FFF2-40B4-BE49-F238E27FC236}">
                <a16:creationId xmlns:a16="http://schemas.microsoft.com/office/drawing/2014/main" id="{62A081D2-8AFF-48F3-BDB2-0C889AC19A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44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740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1689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29B6FF"/>
        </a:buClr>
        <a:buFont typeface="Arial" pitchFamily="34" charset="0"/>
        <a:buChar char="•"/>
        <a:defRPr sz="24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0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image" Target="../media/image135.png"/><Relationship Id="rId7" Type="http://schemas.openxmlformats.org/officeDocument/2006/relationships/image" Target="../media/image1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8.png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50.png"/><Relationship Id="rId7" Type="http://schemas.openxmlformats.org/officeDocument/2006/relationships/image" Target="../media/image1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3.png"/><Relationship Id="rId5" Type="http://schemas.openxmlformats.org/officeDocument/2006/relationships/image" Target="../media/image152.png"/><Relationship Id="rId4" Type="http://schemas.openxmlformats.org/officeDocument/2006/relationships/image" Target="../media/image15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9.png"/><Relationship Id="rId5" Type="http://schemas.openxmlformats.org/officeDocument/2006/relationships/image" Target="../media/image158.png"/><Relationship Id="rId4" Type="http://schemas.openxmlformats.org/officeDocument/2006/relationships/image" Target="../media/image15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5.png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0.png"/><Relationship Id="rId5" Type="http://schemas.openxmlformats.org/officeDocument/2006/relationships/image" Target="../media/image169.png"/><Relationship Id="rId4" Type="http://schemas.openxmlformats.org/officeDocument/2006/relationships/image" Target="../media/image16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5.png"/><Relationship Id="rId5" Type="http://schemas.openxmlformats.org/officeDocument/2006/relationships/image" Target="../media/image174.png"/><Relationship Id="rId4" Type="http://schemas.openxmlformats.org/officeDocument/2006/relationships/image" Target="../media/image17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7" Type="http://schemas.openxmlformats.org/officeDocument/2006/relationships/image" Target="../media/image189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8.png"/><Relationship Id="rId5" Type="http://schemas.openxmlformats.org/officeDocument/2006/relationships/image" Target="../media/image187.png"/><Relationship Id="rId4" Type="http://schemas.openxmlformats.org/officeDocument/2006/relationships/image" Target="../media/image18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4.png"/><Relationship Id="rId5" Type="http://schemas.openxmlformats.org/officeDocument/2006/relationships/image" Target="../media/image193.png"/><Relationship Id="rId4" Type="http://schemas.openxmlformats.org/officeDocument/2006/relationships/image" Target="../media/image19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7" Type="http://schemas.openxmlformats.org/officeDocument/2006/relationships/image" Target="../media/image200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9.png"/><Relationship Id="rId5" Type="http://schemas.openxmlformats.org/officeDocument/2006/relationships/image" Target="../media/image198.png"/><Relationship Id="rId4" Type="http://schemas.openxmlformats.org/officeDocument/2006/relationships/image" Target="../media/image19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7" Type="http://schemas.openxmlformats.org/officeDocument/2006/relationships/image" Target="../media/image206.png"/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5.png"/><Relationship Id="rId5" Type="http://schemas.openxmlformats.org/officeDocument/2006/relationships/image" Target="../media/image204.png"/><Relationship Id="rId4" Type="http://schemas.openxmlformats.org/officeDocument/2006/relationships/image" Target="../media/image20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9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8FCE3B-B6CC-80B3-469D-E2ED342C3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709" y="2963669"/>
            <a:ext cx="9693215" cy="930662"/>
          </a:xfrm>
        </p:spPr>
        <p:txBody>
          <a:bodyPr/>
          <a:lstStyle/>
          <a:p>
            <a:r>
              <a:rPr lang="es-ES" sz="4000"/>
              <a:t>Construcción de una API REST en spring boot</a:t>
            </a:r>
            <a:endParaRPr lang="es-ES" dirty="0"/>
          </a:p>
        </p:txBody>
      </p:sp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9DA35B3F-D001-45C3-2CD3-29BD822788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8093" y="4406156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16439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 err="1"/>
              <a:t>NetworkPath</a:t>
            </a:r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259166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767BFE-E5B4-4D5C-8192-902264563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Tutor de Diagnostic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658F4D7-8DFC-B59D-24BC-0C0C5BFEB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C57D0D2-6C35-88E0-7C10-41EA03C5F9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1</a:t>
            </a:fld>
            <a:endParaRPr lang="pt-BR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485BC382-40DA-966C-57D7-4D7CE7D474B4}"/>
              </a:ext>
            </a:extLst>
          </p:cNvPr>
          <p:cNvSpPr/>
          <p:nvPr/>
        </p:nvSpPr>
        <p:spPr>
          <a:xfrm>
            <a:off x="7670800" y="5571067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217D9CA-FDD9-49CF-BACC-C13907534DCA}"/>
              </a:ext>
            </a:extLst>
          </p:cNvPr>
          <p:cNvSpPr/>
          <p:nvPr/>
        </p:nvSpPr>
        <p:spPr>
          <a:xfrm>
            <a:off x="9194800" y="5571067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54C9B81-941C-694C-B560-4CB9CAB8DB7E}"/>
              </a:ext>
            </a:extLst>
          </p:cNvPr>
          <p:cNvSpPr/>
          <p:nvPr/>
        </p:nvSpPr>
        <p:spPr>
          <a:xfrm>
            <a:off x="10675668" y="5571066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2085344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FAC701-87A3-9FB0-AAF2-5209E8C42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Relevamiento de BW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B2BD9FA-E5C1-192B-0D09-E0629A9B2C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72F5196-17A3-A5D8-CE77-C179807CA5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676568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5BBC10-AC6A-A6B8-EE35-CB56D2C0C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159370"/>
            <a:ext cx="9859992" cy="792000"/>
          </a:xfrm>
        </p:spPr>
        <p:txBody>
          <a:bodyPr/>
          <a:lstStyle/>
          <a:p>
            <a:r>
              <a:rPr lang="es-AR" err="1"/>
              <a:t>Legacy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CC8191A-EBFE-9317-6D15-909E64DDD6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401026C-F153-7C03-C416-8EAA7D0BFA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30108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8C058-3586-3E15-3840-566D0EE482C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86BCA8B-C15E-E482-3B1F-2F29C4D63E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4</a:t>
            </a:fld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17318A37-7B7A-D198-9369-29A48BBA8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BGP MOSS &lt;&gt; DCN</a:t>
            </a:r>
          </a:p>
        </p:txBody>
      </p:sp>
    </p:spTree>
    <p:extLst>
      <p:ext uri="{BB962C8B-B14F-4D97-AF65-F5344CB8AC3E}">
        <p14:creationId xmlns:p14="http://schemas.microsoft.com/office/powerpoint/2010/main" val="381510541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4A72CB-D710-2A10-80CE-96D669265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CarveOut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99BE30-35F4-1AFC-99F7-0947E9EB1D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C34EB1-1D09-318F-C925-C3859B8F42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086423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6AD458A-DEE0-5CF1-ECE7-91A0A9E29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ilares de Solucione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EAD62BA-691D-8707-6E3A-631D921D3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6</a:t>
            </a:fld>
            <a:endParaRPr lang="pt-BR"/>
          </a:p>
        </p:txBody>
      </p:sp>
      <p:sp>
        <p:nvSpPr>
          <p:cNvPr id="45" name="TextBox 21">
            <a:extLst>
              <a:ext uri="{FF2B5EF4-FFF2-40B4-BE49-F238E27FC236}">
                <a16:creationId xmlns:a16="http://schemas.microsoft.com/office/drawing/2014/main" id="{369F6C68-0871-E1AB-5E67-84B4A5E28DBF}"/>
              </a:ext>
            </a:extLst>
          </p:cNvPr>
          <p:cNvSpPr txBox="1"/>
          <p:nvPr/>
        </p:nvSpPr>
        <p:spPr>
          <a:xfrm>
            <a:off x="571684" y="258276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alable Networks &amp; Content</a:t>
            </a:r>
          </a:p>
        </p:txBody>
      </p:sp>
      <p:sp>
        <p:nvSpPr>
          <p:cNvPr id="46" name="TextBox 23">
            <a:extLst>
              <a:ext uri="{FF2B5EF4-FFF2-40B4-BE49-F238E27FC236}">
                <a16:creationId xmlns:a16="http://schemas.microsoft.com/office/drawing/2014/main" id="{6374D3B2-69BB-BA20-EE45-90C56853E803}"/>
              </a:ext>
            </a:extLst>
          </p:cNvPr>
          <p:cNvSpPr txBox="1"/>
          <p:nvPr/>
        </p:nvSpPr>
        <p:spPr>
          <a:xfrm>
            <a:off x="2886539" y="258276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 &amp; Hybrid Cloud</a:t>
            </a:r>
          </a:p>
        </p:txBody>
      </p:sp>
      <p:sp>
        <p:nvSpPr>
          <p:cNvPr id="47" name="TextBox 27">
            <a:extLst>
              <a:ext uri="{FF2B5EF4-FFF2-40B4-BE49-F238E27FC236}">
                <a16:creationId xmlns:a16="http://schemas.microsoft.com/office/drawing/2014/main" id="{4D9EB588-FCB1-ED78-0FC7-2D2A15162035}"/>
              </a:ext>
            </a:extLst>
          </p:cNvPr>
          <p:cNvSpPr txBox="1"/>
          <p:nvPr/>
        </p:nvSpPr>
        <p:spPr>
          <a:xfrm>
            <a:off x="5458141" y="2615578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grated Security</a:t>
            </a:r>
          </a:p>
        </p:txBody>
      </p:sp>
      <p:sp>
        <p:nvSpPr>
          <p:cNvPr id="48" name="TextBox 30">
            <a:extLst>
              <a:ext uri="{FF2B5EF4-FFF2-40B4-BE49-F238E27FC236}">
                <a16:creationId xmlns:a16="http://schemas.microsoft.com/office/drawing/2014/main" id="{435E03FD-8F0E-6629-8389-CE281A48C153}"/>
              </a:ext>
            </a:extLst>
          </p:cNvPr>
          <p:cNvSpPr txBox="1"/>
          <p:nvPr/>
        </p:nvSpPr>
        <p:spPr>
          <a:xfrm>
            <a:off x="7573267" y="260663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oice &amp; Collaboration</a:t>
            </a: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30EF3F77-BAF3-F477-9983-0CE22D8BF809}"/>
              </a:ext>
            </a:extLst>
          </p:cNvPr>
          <p:cNvSpPr txBox="1"/>
          <p:nvPr/>
        </p:nvSpPr>
        <p:spPr>
          <a:xfrm>
            <a:off x="10120567" y="2582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naged Services</a:t>
            </a:r>
          </a:p>
        </p:txBody>
      </p:sp>
      <p:pic>
        <p:nvPicPr>
          <p:cNvPr id="50" name="Picture 3">
            <a:extLst>
              <a:ext uri="{FF2B5EF4-FFF2-40B4-BE49-F238E27FC236}">
                <a16:creationId xmlns:a16="http://schemas.microsoft.com/office/drawing/2014/main" id="{3A7252DE-7FA3-B268-ADFD-E9ADA768E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6010" y="3279191"/>
            <a:ext cx="1683544" cy="15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" name="Picture 5">
            <a:extLst>
              <a:ext uri="{FF2B5EF4-FFF2-40B4-BE49-F238E27FC236}">
                <a16:creationId xmlns:a16="http://schemas.microsoft.com/office/drawing/2014/main" id="{3E0E58BC-3022-3925-3107-926FE64F1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72790" y="3279191"/>
            <a:ext cx="1359694" cy="10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D5288EB2-0BA4-8C6A-BE40-80122333E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7522" y="3279191"/>
            <a:ext cx="1366838" cy="1045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" name="Picture 6">
            <a:extLst>
              <a:ext uri="{FF2B5EF4-FFF2-40B4-BE49-F238E27FC236}">
                <a16:creationId xmlns:a16="http://schemas.microsoft.com/office/drawing/2014/main" id="{DD51AF79-A331-6505-4AAB-4AC78813A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844" y="3279191"/>
            <a:ext cx="1019175" cy="1383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4" name="Picture 7">
            <a:extLst>
              <a:ext uri="{FF2B5EF4-FFF2-40B4-BE49-F238E27FC236}">
                <a16:creationId xmlns:a16="http://schemas.microsoft.com/office/drawing/2014/main" id="{623EC233-AAA5-51FB-0DDA-23B082081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336584" y="3279191"/>
            <a:ext cx="1300163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3874573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6AD458A-DEE0-5CF1-ECE7-91A0A9E29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Soluciones de </a:t>
            </a:r>
            <a:r>
              <a:rPr lang="pt-BR" err="1"/>
              <a:t>la</a:t>
            </a:r>
            <a:r>
              <a:rPr lang="pt-BR"/>
              <a:t> plataforma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EAD62BA-691D-8707-6E3A-631D921D3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7</a:t>
            </a:fld>
            <a:endParaRPr lang="pt-BR"/>
          </a:p>
        </p:txBody>
      </p:sp>
      <p:sp>
        <p:nvSpPr>
          <p:cNvPr id="45" name="TextBox 21">
            <a:extLst>
              <a:ext uri="{FF2B5EF4-FFF2-40B4-BE49-F238E27FC236}">
                <a16:creationId xmlns:a16="http://schemas.microsoft.com/office/drawing/2014/main" id="{369F6C68-0871-E1AB-5E67-84B4A5E28DBF}"/>
              </a:ext>
            </a:extLst>
          </p:cNvPr>
          <p:cNvSpPr txBox="1"/>
          <p:nvPr/>
        </p:nvSpPr>
        <p:spPr>
          <a:xfrm>
            <a:off x="4393434" y="327066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alable Networks &amp; Content</a:t>
            </a:r>
          </a:p>
        </p:txBody>
      </p:sp>
      <p:sp>
        <p:nvSpPr>
          <p:cNvPr id="46" name="TextBox 23">
            <a:extLst>
              <a:ext uri="{FF2B5EF4-FFF2-40B4-BE49-F238E27FC236}">
                <a16:creationId xmlns:a16="http://schemas.microsoft.com/office/drawing/2014/main" id="{6374D3B2-69BB-BA20-EE45-90C56853E803}"/>
              </a:ext>
            </a:extLst>
          </p:cNvPr>
          <p:cNvSpPr txBox="1"/>
          <p:nvPr/>
        </p:nvSpPr>
        <p:spPr>
          <a:xfrm>
            <a:off x="1468256" y="332818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</a:p>
        </p:txBody>
      </p:sp>
      <p:sp>
        <p:nvSpPr>
          <p:cNvPr id="47" name="TextBox 27">
            <a:extLst>
              <a:ext uri="{FF2B5EF4-FFF2-40B4-BE49-F238E27FC236}">
                <a16:creationId xmlns:a16="http://schemas.microsoft.com/office/drawing/2014/main" id="{4D9EB588-FCB1-ED78-0FC7-2D2A15162035}"/>
              </a:ext>
            </a:extLst>
          </p:cNvPr>
          <p:cNvSpPr txBox="1"/>
          <p:nvPr/>
        </p:nvSpPr>
        <p:spPr>
          <a:xfrm>
            <a:off x="6885750" y="3291200"/>
            <a:ext cx="2115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 &amp; Hybrid Clou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B7F29D-B6A9-22E2-545E-15A7B32751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161" y="2246168"/>
            <a:ext cx="1324189" cy="9357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8FAC16-EF05-828F-BAB9-517FEC409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7041" y="1461883"/>
            <a:ext cx="1743067" cy="17079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8D80FE-1CED-3679-4DE6-4CADBC84E4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6916" y="1564520"/>
            <a:ext cx="1732196" cy="16242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1B2C508-3EFF-25F9-A827-973A63DB4A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5411" y="1667676"/>
            <a:ext cx="1512984" cy="1140704"/>
          </a:xfrm>
          <a:prstGeom prst="rect">
            <a:avLst/>
          </a:prstGeom>
        </p:spPr>
      </p:pic>
      <p:sp>
        <p:nvSpPr>
          <p:cNvPr id="22" name="TextBox 23">
            <a:extLst>
              <a:ext uri="{FF2B5EF4-FFF2-40B4-BE49-F238E27FC236}">
                <a16:creationId xmlns:a16="http://schemas.microsoft.com/office/drawing/2014/main" id="{CB15D388-0E22-7A9B-BB25-B175BB971BA1}"/>
              </a:ext>
            </a:extLst>
          </p:cNvPr>
          <p:cNvSpPr txBox="1"/>
          <p:nvPr/>
        </p:nvSpPr>
        <p:spPr>
          <a:xfrm>
            <a:off x="9604204" y="32732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Malware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6E7F284-6BD3-97C4-D78B-2FE77FDB34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0458" y="4376520"/>
            <a:ext cx="944052" cy="1236859"/>
          </a:xfrm>
          <a:prstGeom prst="rect">
            <a:avLst/>
          </a:prstGeom>
        </p:spPr>
      </p:pic>
      <p:sp>
        <p:nvSpPr>
          <p:cNvPr id="25" name="TextBox 23">
            <a:extLst>
              <a:ext uri="{FF2B5EF4-FFF2-40B4-BE49-F238E27FC236}">
                <a16:creationId xmlns:a16="http://schemas.microsoft.com/office/drawing/2014/main" id="{DACC2B5B-5A4F-F83B-FFBB-4441199A9217}"/>
              </a:ext>
            </a:extLst>
          </p:cNvPr>
          <p:cNvSpPr txBox="1"/>
          <p:nvPr/>
        </p:nvSpPr>
        <p:spPr>
          <a:xfrm>
            <a:off x="1468256" y="58805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grated Security</a:t>
            </a: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D577DC38-C234-C8DE-7D45-3FD96CD363DC}"/>
              </a:ext>
            </a:extLst>
          </p:cNvPr>
          <p:cNvSpPr txBox="1"/>
          <p:nvPr/>
        </p:nvSpPr>
        <p:spPr>
          <a:xfrm>
            <a:off x="6780221" y="581434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Services</a:t>
            </a:r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21CBFD4C-4B94-C4D2-7C10-B05F7A136AEB}"/>
              </a:ext>
            </a:extLst>
          </p:cNvPr>
          <p:cNvSpPr txBox="1"/>
          <p:nvPr/>
        </p:nvSpPr>
        <p:spPr>
          <a:xfrm>
            <a:off x="4633242" y="579922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ecurity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3E3BF901-1C91-DDCF-91CC-BFEC696BF63E}"/>
              </a:ext>
            </a:extLst>
          </p:cNvPr>
          <p:cNvSpPr txBox="1"/>
          <p:nvPr/>
        </p:nvSpPr>
        <p:spPr>
          <a:xfrm>
            <a:off x="9464477" y="581434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dge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compu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0654A6-487D-5722-8D30-3C69231F03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7406" y="4376520"/>
            <a:ext cx="978102" cy="123685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B4C8B63-4A66-5ACE-883D-7D80E60977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59600" y="4376520"/>
            <a:ext cx="1481705" cy="12700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A4FE4E8-D28A-1157-E1CD-38F5333723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2896" y="4376520"/>
            <a:ext cx="1499521" cy="117111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FBDCF41-4344-2B8E-78A8-67521A95B1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9805" y="4016328"/>
            <a:ext cx="1499521" cy="15970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45BDC00-FF84-CE46-2ED2-446E2FBAD9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97758" y="1667676"/>
            <a:ext cx="1545088" cy="1551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021433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948F70CF-E031-0143-A9B7-F1246D15B70E}"/>
              </a:ext>
            </a:extLst>
          </p:cNvPr>
          <p:cNvSpPr txBox="1"/>
          <p:nvPr/>
        </p:nvSpPr>
        <p:spPr>
          <a:xfrm>
            <a:off x="1071507" y="56583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eckli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4411AC-E01A-4E41-89CA-FB46CE66D79B}"/>
              </a:ext>
            </a:extLst>
          </p:cNvPr>
          <p:cNvSpPr txBox="1"/>
          <p:nvPr/>
        </p:nvSpPr>
        <p:spPr>
          <a:xfrm>
            <a:off x="952283" y="31968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03CF72-DA35-A74A-9603-AEE926A69A1B}"/>
              </a:ext>
            </a:extLst>
          </p:cNvPr>
          <p:cNvSpPr txBox="1"/>
          <p:nvPr/>
        </p:nvSpPr>
        <p:spPr>
          <a:xfrm>
            <a:off x="6499856" y="561903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trac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AC408EE-E590-B448-93E8-9DCA90E064EB}"/>
              </a:ext>
            </a:extLst>
          </p:cNvPr>
          <p:cNvSpPr txBox="1"/>
          <p:nvPr/>
        </p:nvSpPr>
        <p:spPr>
          <a:xfrm>
            <a:off x="3816489" y="31968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ig da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F9F3C8-4DF4-D148-92CD-343774D73B1F}"/>
              </a:ext>
            </a:extLst>
          </p:cNvPr>
          <p:cNvSpPr txBox="1"/>
          <p:nvPr/>
        </p:nvSpPr>
        <p:spPr>
          <a:xfrm>
            <a:off x="3808266" y="558708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sult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8ED2E9D-2BFB-A34C-BF2F-F401FB416FA0}"/>
              </a:ext>
            </a:extLst>
          </p:cNvPr>
          <p:cNvSpPr txBox="1"/>
          <p:nvPr/>
        </p:nvSpPr>
        <p:spPr>
          <a:xfrm>
            <a:off x="6747219" y="318117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alenda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866106D-F5A3-0CCB-9295-0CC4D644F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34F41E91-CC07-43F1-F6EF-3691B50C0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8</a:t>
            </a:fld>
            <a:endParaRPr lang="pt-BR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E8C7624-C09F-2351-99A4-16B1F9B49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33695" y="1606117"/>
            <a:ext cx="1297781" cy="1335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">
            <a:extLst>
              <a:ext uri="{FF2B5EF4-FFF2-40B4-BE49-F238E27FC236}">
                <a16:creationId xmlns:a16="http://schemas.microsoft.com/office/drawing/2014/main" id="{1413E809-A91A-25EF-FCDD-47AB1A1AB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5401" y="1829573"/>
            <a:ext cx="935831" cy="89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11691946-40BF-62A5-B6BC-29006D620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458" y="4109698"/>
            <a:ext cx="826294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5">
            <a:extLst>
              <a:ext uri="{FF2B5EF4-FFF2-40B4-BE49-F238E27FC236}">
                <a16:creationId xmlns:a16="http://schemas.microsoft.com/office/drawing/2014/main" id="{5CA6DDEE-C806-9950-B068-E21F30B82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25360" y="4269406"/>
            <a:ext cx="97155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F5005E23-F03E-5A0F-49C5-A64CF87D3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98038" y="4269406"/>
            <a:ext cx="935831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TextBox 36">
            <a:extLst>
              <a:ext uri="{FF2B5EF4-FFF2-40B4-BE49-F238E27FC236}">
                <a16:creationId xmlns:a16="http://schemas.microsoft.com/office/drawing/2014/main" id="{0023203D-9388-D739-0701-29297E34E580}"/>
              </a:ext>
            </a:extLst>
          </p:cNvPr>
          <p:cNvSpPr txBox="1"/>
          <p:nvPr/>
        </p:nvSpPr>
        <p:spPr>
          <a:xfrm>
            <a:off x="9611425" y="32818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st Control (Dollar)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C6908600-03B8-CA93-7BF8-9E7229518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934598" y="1684117"/>
            <a:ext cx="1085850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TextBox 36">
            <a:extLst>
              <a:ext uri="{FF2B5EF4-FFF2-40B4-BE49-F238E27FC236}">
                <a16:creationId xmlns:a16="http://schemas.microsoft.com/office/drawing/2014/main" id="{B900A2B8-C492-D5D2-991A-E904D273D319}"/>
              </a:ext>
            </a:extLst>
          </p:cNvPr>
          <p:cNvSpPr txBox="1"/>
          <p:nvPr/>
        </p:nvSpPr>
        <p:spPr>
          <a:xfrm>
            <a:off x="9485717" y="56583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ower Costs (Dollar)</a:t>
            </a:r>
          </a:p>
        </p:txBody>
      </p:sp>
      <p:pic>
        <p:nvPicPr>
          <p:cNvPr id="34" name="Picture 8">
            <a:extLst>
              <a:ext uri="{FF2B5EF4-FFF2-40B4-BE49-F238E27FC236}">
                <a16:creationId xmlns:a16="http://schemas.microsoft.com/office/drawing/2014/main" id="{93935583-5660-C274-859D-7DBA6D036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77933" y="4102837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31CF7-BBBD-0B39-C252-290A4C7B09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7389" y="1930480"/>
            <a:ext cx="1403662" cy="1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595170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C942189-1AAC-AB4D-B80F-1884FE7DA907}"/>
              </a:ext>
            </a:extLst>
          </p:cNvPr>
          <p:cNvSpPr txBox="1"/>
          <p:nvPr/>
        </p:nvSpPr>
        <p:spPr>
          <a:xfrm>
            <a:off x="8013820" y="3052910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4D7168-CFA7-8F44-BB37-5B42E97B627E}"/>
              </a:ext>
            </a:extLst>
          </p:cNvPr>
          <p:cNvSpPr txBox="1"/>
          <p:nvPr/>
        </p:nvSpPr>
        <p:spPr>
          <a:xfrm>
            <a:off x="5238769" y="528920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rowt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3FE3DC-34A8-BE4B-A72D-DDF9E2BC3D0F}"/>
              </a:ext>
            </a:extLst>
          </p:cNvPr>
          <p:cNvSpPr txBox="1"/>
          <p:nvPr/>
        </p:nvSpPr>
        <p:spPr>
          <a:xfrm>
            <a:off x="2178822" y="305595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43E667-9D4F-CC4F-AC90-2B0D13C11236}"/>
              </a:ext>
            </a:extLst>
          </p:cNvPr>
          <p:cNvSpPr txBox="1"/>
          <p:nvPr/>
        </p:nvSpPr>
        <p:spPr>
          <a:xfrm>
            <a:off x="4850635" y="3055951"/>
            <a:ext cx="23628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hanced customer experien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EC6B76-A981-42A1-A9DB-9B4C56416B17}"/>
              </a:ext>
            </a:extLst>
          </p:cNvPr>
          <p:cNvSpPr txBox="1"/>
          <p:nvPr/>
        </p:nvSpPr>
        <p:spPr>
          <a:xfrm>
            <a:off x="8013820" y="515402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C3494FEB-158F-AB9B-124E-77BAD9E4A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C546C33A-1960-7278-079D-4AF803A37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9</a:t>
            </a:fld>
            <a:endParaRPr lang="pt-BR"/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E6A62D3-CD41-8591-366E-D76AE10F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3847" y="4073382"/>
            <a:ext cx="1078706" cy="1078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EEDD094-1895-D095-FAFB-F2B68D272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30985" y="1645470"/>
            <a:ext cx="1023471" cy="1276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CCFE038B-8811-FB64-31B4-A63C991CE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62102" y="1801094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1BEB7A3B-5BF4-BCD7-C5F0-60CF2736A4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30985" y="3992630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TextBox 9">
            <a:extLst>
              <a:ext uri="{FF2B5EF4-FFF2-40B4-BE49-F238E27FC236}">
                <a16:creationId xmlns:a16="http://schemas.microsoft.com/office/drawing/2014/main" id="{5A6C9581-76C3-FFCA-B5AE-05E2ECA57CCE}"/>
              </a:ext>
            </a:extLst>
          </p:cNvPr>
          <p:cNvSpPr txBox="1"/>
          <p:nvPr/>
        </p:nvSpPr>
        <p:spPr>
          <a:xfrm>
            <a:off x="2337102" y="528815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rust / Confid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D8EABF-079D-49CE-6F49-DCFAFDF9C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4938" y="1774235"/>
            <a:ext cx="1214607" cy="12765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937397-EB24-8BEA-2872-D9C56921F2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7180" y="3992630"/>
            <a:ext cx="1274378" cy="107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8434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600E46-3AEE-83EE-6831-26960562FA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O" dirty="0"/>
              <a:t>Estructura básica de una API REST</a:t>
            </a:r>
          </a:p>
        </p:txBody>
      </p:sp>
    </p:spTree>
    <p:extLst>
      <p:ext uri="{BB962C8B-B14F-4D97-AF65-F5344CB8AC3E}">
        <p14:creationId xmlns:p14="http://schemas.microsoft.com/office/powerpoint/2010/main" val="1879053108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12DD5C16-C96B-CF4B-998C-7C58F3C08881}"/>
              </a:ext>
            </a:extLst>
          </p:cNvPr>
          <p:cNvSpPr txBox="1"/>
          <p:nvPr/>
        </p:nvSpPr>
        <p:spPr>
          <a:xfrm>
            <a:off x="2194088" y="310775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CCAEB6-73AE-364A-A591-5F04E599A782}"/>
              </a:ext>
            </a:extLst>
          </p:cNvPr>
          <p:cNvSpPr txBox="1"/>
          <p:nvPr/>
        </p:nvSpPr>
        <p:spPr>
          <a:xfrm>
            <a:off x="8697140" y="310775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por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F291AB8-11D2-C243-A68F-8FB9A2366AD3}"/>
              </a:ext>
            </a:extLst>
          </p:cNvPr>
          <p:cNvSpPr txBox="1"/>
          <p:nvPr/>
        </p:nvSpPr>
        <p:spPr>
          <a:xfrm>
            <a:off x="5468011" y="310775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liabil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E566D01-E67A-C143-ADF2-1D239C43D112}"/>
              </a:ext>
            </a:extLst>
          </p:cNvPr>
          <p:cNvSpPr txBox="1"/>
          <p:nvPr/>
        </p:nvSpPr>
        <p:spPr>
          <a:xfrm>
            <a:off x="5468011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B087331-88C1-8E4A-9F12-891C20E7DFD7}"/>
              </a:ext>
            </a:extLst>
          </p:cNvPr>
          <p:cNvSpPr txBox="1"/>
          <p:nvPr/>
        </p:nvSpPr>
        <p:spPr>
          <a:xfrm>
            <a:off x="2194088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ingle Provid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2457D8C-FF84-EC46-BA4A-0C718A6CF105}"/>
              </a:ext>
            </a:extLst>
          </p:cNvPr>
          <p:cNvSpPr txBox="1"/>
          <p:nvPr/>
        </p:nvSpPr>
        <p:spPr>
          <a:xfrm>
            <a:off x="8697140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3D030E28-634E-F377-4D4C-5F02F198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FBFCCD2-FACB-24E1-EC19-92F356727F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0</a:t>
            </a:fld>
            <a:endParaRPr lang="pt-BR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AFB37E33-63F6-50C9-F3B6-E8B830A71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0119" y="1659989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">
            <a:extLst>
              <a:ext uri="{FF2B5EF4-FFF2-40B4-BE49-F238E27FC236}">
                <a16:creationId xmlns:a16="http://schemas.microsoft.com/office/drawing/2014/main" id="{00F35412-3A1C-DDE7-8E2B-6AD7E0378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28063" y="1534565"/>
            <a:ext cx="1318505" cy="1405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4">
            <a:extLst>
              <a:ext uri="{FF2B5EF4-FFF2-40B4-BE49-F238E27FC236}">
                <a16:creationId xmlns:a16="http://schemas.microsoft.com/office/drawing/2014/main" id="{49B17439-37BB-A719-0528-54CCD8BE7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07787" y="1699673"/>
            <a:ext cx="788194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5">
            <a:extLst>
              <a:ext uri="{FF2B5EF4-FFF2-40B4-BE49-F238E27FC236}">
                <a16:creationId xmlns:a16="http://schemas.microsoft.com/office/drawing/2014/main" id="{1DCD9833-98F0-BED4-71E9-BFF6BC5E3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0120" y="4258638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9A9B8005-C996-026E-1EC9-921BB09BC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4807" y="4548835"/>
            <a:ext cx="1295400" cy="721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>
            <a:extLst>
              <a:ext uri="{FF2B5EF4-FFF2-40B4-BE49-F238E27FC236}">
                <a16:creationId xmlns:a16="http://schemas.microsoft.com/office/drawing/2014/main" id="{2A68BF5F-3754-9B30-B38A-FC63B2A7F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88676" y="4335712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01645879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E1E2079E-9BBF-2048-A876-5655B4B660AB}"/>
              </a:ext>
            </a:extLst>
          </p:cNvPr>
          <p:cNvSpPr txBox="1"/>
          <p:nvPr/>
        </p:nvSpPr>
        <p:spPr>
          <a:xfrm>
            <a:off x="5377559" y="54118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A4BC5E-2C8D-2840-9D30-6E9E05A8D930}"/>
              </a:ext>
            </a:extLst>
          </p:cNvPr>
          <p:cNvSpPr txBox="1"/>
          <p:nvPr/>
        </p:nvSpPr>
        <p:spPr>
          <a:xfrm>
            <a:off x="2110565" y="284202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mi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05D630-05B3-6743-8A9E-989BDCD7C3BB}"/>
              </a:ext>
            </a:extLst>
          </p:cNvPr>
          <p:cNvSpPr txBox="1"/>
          <p:nvPr/>
        </p:nvSpPr>
        <p:spPr>
          <a:xfrm>
            <a:off x="8484675" y="281669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ief Financial Officer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CFO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FD8DAB-0A9D-B540-B86F-0055CAA88584}"/>
              </a:ext>
            </a:extLst>
          </p:cNvPr>
          <p:cNvSpPr txBox="1"/>
          <p:nvPr/>
        </p:nvSpPr>
        <p:spPr>
          <a:xfrm>
            <a:off x="8534516" y="54118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gine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5485C9-1B6B-4843-B0F8-1761CECA07F6}"/>
              </a:ext>
            </a:extLst>
          </p:cNvPr>
          <p:cNvSpPr txBox="1"/>
          <p:nvPr/>
        </p:nvSpPr>
        <p:spPr>
          <a:xfrm>
            <a:off x="1943994" y="5358975"/>
            <a:ext cx="18524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ief Information Officer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CIO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89A63C-3B7D-F541-9A57-5AD101EEE7FB}"/>
              </a:ext>
            </a:extLst>
          </p:cNvPr>
          <p:cNvSpPr txBox="1"/>
          <p:nvPr/>
        </p:nvSpPr>
        <p:spPr>
          <a:xfrm>
            <a:off x="5344018" y="286866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ttacke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D4BD797-E77A-5192-64B4-E0F2B4F37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Gen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CA690491-5EAE-D0F1-4625-D1FE9CCF3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1</a:t>
            </a:fld>
            <a:endParaRPr lang="pt-BR"/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5F62780E-487E-A3AF-E71A-66D25039C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7163" y="1368742"/>
            <a:ext cx="1300163" cy="1045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3">
            <a:extLst>
              <a:ext uri="{FF2B5EF4-FFF2-40B4-BE49-F238E27FC236}">
                <a16:creationId xmlns:a16="http://schemas.microsoft.com/office/drawing/2014/main" id="{8F6EB0B3-7A42-1496-E5A0-B733413638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91175" y="1343258"/>
            <a:ext cx="1009650" cy="120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id="{8134B5DD-870F-C085-F35A-3A29F3EC0B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00691" y="1368742"/>
            <a:ext cx="13001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C6B18A7F-8B75-D4E7-AAA4-BFE2931CD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20130" y="3982583"/>
            <a:ext cx="13001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>
            <a:extLst>
              <a:ext uri="{FF2B5EF4-FFF2-40B4-BE49-F238E27FC236}">
                <a16:creationId xmlns:a16="http://schemas.microsoft.com/office/drawing/2014/main" id="{F9CABCAF-ECA9-3C33-868C-BD46F1C7C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09985" y="4076707"/>
            <a:ext cx="867344" cy="106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2FB0CC-C4D2-7666-9ACE-2687F63E1C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13947" y="3984667"/>
            <a:ext cx="1452765" cy="130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70437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FCB0935-6365-E64F-A80E-9610D7B2CC8F}"/>
              </a:ext>
            </a:extLst>
          </p:cNvPr>
          <p:cNvSpPr txBox="1"/>
          <p:nvPr/>
        </p:nvSpPr>
        <p:spPr>
          <a:xfrm>
            <a:off x="2151531" y="540970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uppor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D0D36E-D84C-7E40-9A75-19F633FBE5D1}"/>
              </a:ext>
            </a:extLst>
          </p:cNvPr>
          <p:cNvSpPr txBox="1"/>
          <p:nvPr/>
        </p:nvSpPr>
        <p:spPr>
          <a:xfrm>
            <a:off x="5304525" y="427623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TAM Networ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84A045-DB45-F349-921E-E6574F9DE378}"/>
              </a:ext>
            </a:extLst>
          </p:cNvPr>
          <p:cNvSpPr txBox="1"/>
          <p:nvPr/>
        </p:nvSpPr>
        <p:spPr>
          <a:xfrm>
            <a:off x="8622336" y="53602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T Professio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B66BD6-C05A-E546-8BE0-0AD72DDEF324}"/>
              </a:ext>
            </a:extLst>
          </p:cNvPr>
          <p:cNvSpPr txBox="1"/>
          <p:nvPr/>
        </p:nvSpPr>
        <p:spPr>
          <a:xfrm>
            <a:off x="8697140" y="29847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oftware Develop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DD6260-79E1-EE4A-8452-2EE5276FED90}"/>
              </a:ext>
            </a:extLst>
          </p:cNvPr>
          <p:cNvSpPr txBox="1"/>
          <p:nvPr/>
        </p:nvSpPr>
        <p:spPr>
          <a:xfrm>
            <a:off x="2278929" y="312345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xecutive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C2AD0AC-6FC9-D204-386D-0962DD8CD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Gent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87686321-D6AE-B6B9-2049-5790E4FF7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2</a:t>
            </a:fld>
            <a:endParaRPr lang="pt-BR"/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CC5A6222-91CF-25E2-5AA7-CEBD067DE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13156" y="3890208"/>
            <a:ext cx="1300163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0A95B5EC-80AC-7A28-8F60-D7DA73FA5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13156" y="1618458"/>
            <a:ext cx="1300163" cy="101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5">
            <a:extLst>
              <a:ext uri="{FF2B5EF4-FFF2-40B4-BE49-F238E27FC236}">
                <a16:creationId xmlns:a16="http://schemas.microsoft.com/office/drawing/2014/main" id="{A14AA51B-4975-BFFD-CED9-BC4D1D8EA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04482" y="4075189"/>
            <a:ext cx="826294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A9EBB41C-1354-7664-D376-C947480FC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6740" y="2898851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138CF4-39F0-7610-6829-42EABFDDFC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9067" y="1618458"/>
            <a:ext cx="1414660" cy="14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2220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7085207" y="29421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g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CA2CBF-F841-7F4B-83D5-775792F1E29F}"/>
              </a:ext>
            </a:extLst>
          </p:cNvPr>
          <p:cNvSpPr txBox="1"/>
          <p:nvPr/>
        </p:nvSpPr>
        <p:spPr>
          <a:xfrm>
            <a:off x="3333086" y="56226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nalytic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E806B1-ADB0-FA4E-B2F9-2721A06B4039}"/>
              </a:ext>
            </a:extLst>
          </p:cNvPr>
          <p:cNvSpPr txBox="1"/>
          <p:nvPr/>
        </p:nvSpPr>
        <p:spPr>
          <a:xfrm>
            <a:off x="7085207" y="562261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nalytics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data dashboard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06C42F-A58A-417C-BF27-E5D690E01414}"/>
              </a:ext>
            </a:extLst>
          </p:cNvPr>
          <p:cNvSpPr txBox="1"/>
          <p:nvPr/>
        </p:nvSpPr>
        <p:spPr>
          <a:xfrm>
            <a:off x="3333084" y="29421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6E42BADF-5304-CDDE-2F7E-45E4187C6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C35DB82-C1AE-9BEF-8EEA-E7C420C676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3</a:t>
            </a:fld>
            <a:endParaRPr lang="pt-B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0E4D4D-5174-4ADD-952B-71242FA9C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311" y="1535177"/>
            <a:ext cx="1319214" cy="12783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EA02585-CC3F-0BD7-FAB4-B16AA0E06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1698" y="1552239"/>
            <a:ext cx="1525705" cy="13169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914587-9C62-741A-E37D-3FC8DEBB5C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4832" y="4316919"/>
            <a:ext cx="1368700" cy="1291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465261F-1718-224A-CA22-C5A1A4CA8A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4530" y="4225621"/>
            <a:ext cx="1368701" cy="1332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986237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CE0D0D-D4ED-C342-B7D0-BB496D7C5C2A}"/>
              </a:ext>
            </a:extLst>
          </p:cNvPr>
          <p:cNvSpPr txBox="1"/>
          <p:nvPr/>
        </p:nvSpPr>
        <p:spPr>
          <a:xfrm>
            <a:off x="5176893" y="542124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u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9EE00A-9C05-EF4E-967B-16B4EC0207AB}"/>
              </a:ext>
            </a:extLst>
          </p:cNvPr>
          <p:cNvSpPr txBox="1"/>
          <p:nvPr/>
        </p:nvSpPr>
        <p:spPr>
          <a:xfrm>
            <a:off x="1483738" y="533917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ig-data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 &amp; servic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A7B01E3-8B09-4BAE-8462-5AA62F7E96A4}"/>
              </a:ext>
            </a:extLst>
          </p:cNvPr>
          <p:cNvSpPr txBox="1"/>
          <p:nvPr/>
        </p:nvSpPr>
        <p:spPr>
          <a:xfrm>
            <a:off x="8836424" y="315349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20D8BF-4E2F-4FC4-A28B-1A160F558EE3}"/>
              </a:ext>
            </a:extLst>
          </p:cNvPr>
          <p:cNvSpPr txBox="1"/>
          <p:nvPr/>
        </p:nvSpPr>
        <p:spPr>
          <a:xfrm>
            <a:off x="5176893" y="313474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 (other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CF2AB5-F5B6-45BC-B57D-1AA75369C7C0}"/>
              </a:ext>
            </a:extLst>
          </p:cNvPr>
          <p:cNvSpPr txBox="1"/>
          <p:nvPr/>
        </p:nvSpPr>
        <p:spPr>
          <a:xfrm>
            <a:off x="8956709" y="533917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2 (Command and Control Server)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BCCE7CD6-1F62-5EBE-3566-F1C263852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DB4035A5-A52A-3F49-8ACA-677CCD6D0F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4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45B659-B4C5-0641-F151-A200848317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5581" y="1790860"/>
            <a:ext cx="1372567" cy="13365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8EAC57-5CF6-9B0A-A2D3-A7C0D89403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6055" y="1816909"/>
            <a:ext cx="1284776" cy="1336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30B9DB-D5D9-C093-C72B-520ABD012A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371" y="3821332"/>
            <a:ext cx="1467843" cy="14525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B16EC6E-9825-EB5E-779E-22C8CDC473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6161" y="4139469"/>
            <a:ext cx="1233659" cy="12574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8DBA56B-6C1C-478C-78FC-C2A8D3404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6046" y="3890581"/>
            <a:ext cx="1476752" cy="131832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D803CA4-6B19-FFE9-F658-5210B214548E}"/>
              </a:ext>
            </a:extLst>
          </p:cNvPr>
          <p:cNvSpPr txBox="1"/>
          <p:nvPr/>
        </p:nvSpPr>
        <p:spPr>
          <a:xfrm>
            <a:off x="1517362" y="315771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7F48F9F-D31D-79F8-64C2-FF71B22B4F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8834" y="1745149"/>
            <a:ext cx="1383406" cy="129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8975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3458871C-381B-402A-87DB-5082550679BE}"/>
              </a:ext>
            </a:extLst>
          </p:cNvPr>
          <p:cNvSpPr txBox="1"/>
          <p:nvPr/>
        </p:nvSpPr>
        <p:spPr>
          <a:xfrm>
            <a:off x="5229902" y="292363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a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6D4EF6-1F95-43A5-8464-EEFAD9043CD3}"/>
              </a:ext>
            </a:extLst>
          </p:cNvPr>
          <p:cNvSpPr txBox="1"/>
          <p:nvPr/>
        </p:nvSpPr>
        <p:spPr>
          <a:xfrm>
            <a:off x="8889043" y="292363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at bo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FA70FC-9BE5-4DFB-9D7F-68DD13FAB6E0}"/>
              </a:ext>
            </a:extLst>
          </p:cNvPr>
          <p:cNvSpPr txBox="1"/>
          <p:nvPr/>
        </p:nvSpPr>
        <p:spPr>
          <a:xfrm>
            <a:off x="5192689" y="562452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D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(service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AF9149-7C3E-455F-AB35-A15B70B9A406}"/>
              </a:ext>
            </a:extLst>
          </p:cNvPr>
          <p:cNvSpPr txBox="1"/>
          <p:nvPr/>
        </p:nvSpPr>
        <p:spPr>
          <a:xfrm>
            <a:off x="9070035" y="55371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 Storag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4D07F1-8726-2AD4-A383-39E393E1F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98F67979-2B0F-73C7-CF37-A26EF6A1A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5</a:t>
            </a:fld>
            <a:endParaRPr lang="pt-BR"/>
          </a:p>
        </p:txBody>
      </p:sp>
      <p:sp>
        <p:nvSpPr>
          <p:cNvPr id="27" name="TextBox 31">
            <a:extLst>
              <a:ext uri="{FF2B5EF4-FFF2-40B4-BE49-F238E27FC236}">
                <a16:creationId xmlns:a16="http://schemas.microsoft.com/office/drawing/2014/main" id="{6477EEAE-71CD-160D-57EB-9A1876163716}"/>
              </a:ext>
            </a:extLst>
          </p:cNvPr>
          <p:cNvSpPr txBox="1"/>
          <p:nvPr/>
        </p:nvSpPr>
        <p:spPr>
          <a:xfrm>
            <a:off x="1652914" y="550810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isco Unified Comm Manag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68C2BC-AD31-67D3-FE44-73F33581C9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3074" y="4001898"/>
            <a:ext cx="1183228" cy="15124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41E0038-5122-3EAB-93DB-EEDABAE1A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0310" y="1540549"/>
            <a:ext cx="1616250" cy="13286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755AF2-8582-364F-8357-E5C968A51D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3838" y="1239480"/>
            <a:ext cx="1732196" cy="15946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BC9F74-240A-8A59-A044-53A4BA010F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5657" y="4044050"/>
            <a:ext cx="1426710" cy="13810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02559B-3FF1-A605-25AA-9D0FB37776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0035" y="3902631"/>
            <a:ext cx="1616251" cy="1522475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A4566991-9973-4BC0-805B-D8DD2CA6F16E}"/>
              </a:ext>
            </a:extLst>
          </p:cNvPr>
          <p:cNvSpPr txBox="1"/>
          <p:nvPr/>
        </p:nvSpPr>
        <p:spPr>
          <a:xfrm>
            <a:off x="1618544" y="281877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CE / Dynamic Connection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1BD5F40-A48E-D8C8-B4FE-7D042C38E9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6764" y="1432894"/>
            <a:ext cx="1653976" cy="12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14955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>
            <a:extLst>
              <a:ext uri="{FF2B5EF4-FFF2-40B4-BE49-F238E27FC236}">
                <a16:creationId xmlns:a16="http://schemas.microsoft.com/office/drawing/2014/main" id="{758EE26C-FC8A-4F05-8775-6A361BB42B2E}"/>
              </a:ext>
            </a:extLst>
          </p:cNvPr>
          <p:cNvSpPr txBox="1"/>
          <p:nvPr/>
        </p:nvSpPr>
        <p:spPr>
          <a:xfrm>
            <a:off x="770133" y="2724226"/>
            <a:ext cx="2656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 / SaaS Applica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F98BDDC-8572-468B-BE92-FB4CD24E4C96}"/>
              </a:ext>
            </a:extLst>
          </p:cNvPr>
          <p:cNvSpPr txBox="1"/>
          <p:nvPr/>
        </p:nvSpPr>
        <p:spPr>
          <a:xfrm>
            <a:off x="5278637" y="27193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536FBE-F887-4CC2-BA14-E6715713A330}"/>
              </a:ext>
            </a:extLst>
          </p:cNvPr>
          <p:cNvSpPr txBox="1"/>
          <p:nvPr/>
        </p:nvSpPr>
        <p:spPr>
          <a:xfrm>
            <a:off x="9087257" y="271762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ferencing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377AC86-EC5B-4174-9507-6C6610701990}"/>
              </a:ext>
            </a:extLst>
          </p:cNvPr>
          <p:cNvSpPr txBox="1"/>
          <p:nvPr/>
        </p:nvSpPr>
        <p:spPr>
          <a:xfrm>
            <a:off x="1495174" y="5561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stom Background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32533D-83F1-4EEF-9557-B5D8F0DBC289}"/>
              </a:ext>
            </a:extLst>
          </p:cNvPr>
          <p:cNvSpPr txBox="1"/>
          <p:nvPr/>
        </p:nvSpPr>
        <p:spPr>
          <a:xfrm>
            <a:off x="9175097" y="55617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0D0E2C-48E4-46DC-AC82-E944E5FF09FB}"/>
              </a:ext>
            </a:extLst>
          </p:cNvPr>
          <p:cNvSpPr txBox="1"/>
          <p:nvPr/>
        </p:nvSpPr>
        <p:spPr>
          <a:xfrm>
            <a:off x="5278637" y="55617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rk fibe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5B04653-2953-D0A1-F256-93B07554F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E064DBD0-7FB1-CD97-6849-04E22BA0B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6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0E66A2-E519-1ED3-E955-73A2F346A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4072" y="4220855"/>
            <a:ext cx="1285671" cy="12514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468F635-0A92-3F61-6961-29048DD11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3738" y="1460556"/>
            <a:ext cx="1356543" cy="11426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1F5EBB-8B36-7654-71B5-CC0B7ECD5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5551" y="1241146"/>
            <a:ext cx="1780897" cy="14570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835DC8-A9B9-3C3B-8525-81B2BFC15D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41503" y="1341777"/>
            <a:ext cx="1623703" cy="129063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F011306-E7B6-0E0B-4B81-DEDB3C8689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4418" y="4134671"/>
            <a:ext cx="1653407" cy="13096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CC532FC-9E19-D1EB-B3E9-DD184AADC3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8447" y="4312130"/>
            <a:ext cx="1858961" cy="1068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114287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E481B-EBA2-45A4-ADC8-16B480ABB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roductos / </a:t>
            </a:r>
            <a:r>
              <a:rPr lang="en-US" err="1"/>
              <a:t>Conceptos</a:t>
            </a:r>
            <a:endParaRPr lang="en-US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5526AC54-757E-C242-4FA8-62D1F6DC4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7</a:t>
            </a:fld>
            <a:endParaRPr lang="pt-B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525CC8-34F8-4DFA-92FF-6A1672F2DDB7}"/>
              </a:ext>
            </a:extLst>
          </p:cNvPr>
          <p:cNvSpPr txBox="1"/>
          <p:nvPr/>
        </p:nvSpPr>
        <p:spPr>
          <a:xfrm>
            <a:off x="1144949" y="315017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1B59E7-0353-4534-A553-CC13373A46B8}"/>
              </a:ext>
            </a:extLst>
          </p:cNvPr>
          <p:cNvSpPr txBox="1"/>
          <p:nvPr/>
        </p:nvSpPr>
        <p:spPr>
          <a:xfrm>
            <a:off x="5295396" y="31820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pack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CA36F5-B619-475E-853F-41BB06F935C3}"/>
              </a:ext>
            </a:extLst>
          </p:cNvPr>
          <p:cNvSpPr txBox="1"/>
          <p:nvPr/>
        </p:nvSpPr>
        <p:spPr>
          <a:xfrm>
            <a:off x="9099737" y="31820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thef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9162A9B-4E84-4893-83D7-005FDE084DFD}"/>
              </a:ext>
            </a:extLst>
          </p:cNvPr>
          <p:cNvSpPr txBox="1"/>
          <p:nvPr/>
        </p:nvSpPr>
        <p:spPr>
          <a:xfrm>
            <a:off x="1355537" y="543526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Do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623EB4-1432-4966-B31A-3C982807638F}"/>
              </a:ext>
            </a:extLst>
          </p:cNvPr>
          <p:cNvSpPr txBox="1"/>
          <p:nvPr/>
        </p:nvSpPr>
        <p:spPr>
          <a:xfrm>
            <a:off x="5295398" y="55327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8E5AE4-A07A-4B01-A740-C8C130236B0F}"/>
              </a:ext>
            </a:extLst>
          </p:cNvPr>
          <p:cNvSpPr txBox="1"/>
          <p:nvPr/>
        </p:nvSpPr>
        <p:spPr>
          <a:xfrm>
            <a:off x="9099737" y="543526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WD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E1A23A-F2AE-02D7-D5E5-00E20B1AF4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3377" y="1690248"/>
            <a:ext cx="1107472" cy="14413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3AF88C-CB9C-1511-AC42-A615733B9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314" y="1570783"/>
            <a:ext cx="1212359" cy="162299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ADD558C-6166-E2C4-71EE-71BCA1E011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9737" y="1809064"/>
            <a:ext cx="1683862" cy="131170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05F0CF5-A213-AC1A-3409-82723F5AE5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9925" y="4122645"/>
            <a:ext cx="1427808" cy="126774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0CECC10-0648-EEF8-2A82-4F458F6E90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1302" y="4045252"/>
            <a:ext cx="1400385" cy="142252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E125B7A-598D-10F4-84DB-2D6A0ECF46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9738" y="3914906"/>
            <a:ext cx="1683862" cy="144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64005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5F33EC9-BDAF-4B7E-8968-4A4DBA69D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ea typeface="+mn-ea"/>
              </a:rPr>
              <a:t>Productos / </a:t>
            </a:r>
            <a:r>
              <a:rPr lang="en-US" err="1">
                <a:ea typeface="+mn-ea"/>
              </a:rPr>
              <a:t>Concepto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490396-4C69-4616-8D10-F47AC26444B1}"/>
              </a:ext>
            </a:extLst>
          </p:cNvPr>
          <p:cNvSpPr txBox="1"/>
          <p:nvPr/>
        </p:nvSpPr>
        <p:spPr>
          <a:xfrm>
            <a:off x="1336631" y="28537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ge Secur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C5BF13-30D9-422E-9B72-8AE193A2B444}"/>
              </a:ext>
            </a:extLst>
          </p:cNvPr>
          <p:cNvSpPr txBox="1"/>
          <p:nvPr/>
        </p:nvSpPr>
        <p:spPr>
          <a:xfrm>
            <a:off x="8788101" y="285376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8DF94B2-7531-478F-8758-690272CAC242}"/>
              </a:ext>
            </a:extLst>
          </p:cNvPr>
          <p:cNvSpPr txBox="1"/>
          <p:nvPr/>
        </p:nvSpPr>
        <p:spPr>
          <a:xfrm>
            <a:off x="1336631" y="528859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mail Secur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79B221-59C4-45A0-B8AA-B2436C1E7AD3}"/>
              </a:ext>
            </a:extLst>
          </p:cNvPr>
          <p:cNvSpPr txBox="1"/>
          <p:nvPr/>
        </p:nvSpPr>
        <p:spPr>
          <a:xfrm>
            <a:off x="5229902" y="530927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ergy &amp; Utilit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74A2F6-7FFC-4753-85E2-4FEE09F91631}"/>
              </a:ext>
            </a:extLst>
          </p:cNvPr>
          <p:cNvSpPr txBox="1"/>
          <p:nvPr/>
        </p:nvSpPr>
        <p:spPr>
          <a:xfrm>
            <a:off x="5226480" y="291133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d User, remo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42285B19-513D-FF7E-812A-C7BC5983F8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8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B8671-71E7-2863-5AD6-287A35624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409" y="1568484"/>
            <a:ext cx="1732196" cy="12345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950501-5B3B-7820-16D4-21807E97ED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5654" y="1581486"/>
            <a:ext cx="1263705" cy="122158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39A6681-5A4C-B294-74E4-177CC9C03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165" y="3850746"/>
            <a:ext cx="1200684" cy="13802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9E4158-E713-992F-14B9-6BEA63229B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8580" y="1473489"/>
            <a:ext cx="1359596" cy="13802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C6D0CE6-DC60-E759-BD03-129436F863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6202" y="3871424"/>
            <a:ext cx="1359596" cy="1359596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B0DD9AF-87A8-9DBD-6F8F-4E617DCF925A}"/>
              </a:ext>
            </a:extLst>
          </p:cNvPr>
          <p:cNvSpPr txBox="1"/>
          <p:nvPr/>
        </p:nvSpPr>
        <p:spPr>
          <a:xfrm>
            <a:off x="9032957" y="5124607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ial services company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2C6AECD-033D-036E-1AEB-1BCD5960F3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8750" y="3766829"/>
            <a:ext cx="1280609" cy="129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755651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14763B41-8074-FA44-9442-3855E1D329E9}"/>
              </a:ext>
            </a:extLst>
          </p:cNvPr>
          <p:cNvSpPr txBox="1"/>
          <p:nvPr/>
        </p:nvSpPr>
        <p:spPr>
          <a:xfrm>
            <a:off x="7012043" y="28287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le Shar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4D2A8C-8D7F-446E-B5EB-C18B8E4F022C}"/>
              </a:ext>
            </a:extLst>
          </p:cNvPr>
          <p:cNvSpPr txBox="1"/>
          <p:nvPr/>
        </p:nvSpPr>
        <p:spPr>
          <a:xfrm>
            <a:off x="3438452" y="28469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thern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D280D8-BA27-4F46-975C-BDEC2C23BB56}"/>
              </a:ext>
            </a:extLst>
          </p:cNvPr>
          <p:cNvSpPr txBox="1"/>
          <p:nvPr/>
        </p:nvSpPr>
        <p:spPr>
          <a:xfrm>
            <a:off x="7012045" y="54526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82F6381-0D66-4AB4-B794-DAF905424A07}"/>
              </a:ext>
            </a:extLst>
          </p:cNvPr>
          <p:cNvSpPr txBox="1"/>
          <p:nvPr/>
        </p:nvSpPr>
        <p:spPr>
          <a:xfrm>
            <a:off x="3439954" y="546648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ial Service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B834F7-5664-7F50-30E4-624278AC4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5EAC0681-BBA4-D39F-5EAA-1E9D9FB51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9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FA1378-1B37-BE94-3D67-3B395898F6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0531" y="1491113"/>
            <a:ext cx="1368037" cy="133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B28D36-BF28-F24F-0208-97BA6308A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227" y="1476528"/>
            <a:ext cx="1191075" cy="12003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BDB720-8F2D-16DB-7FBE-2A1D4B1CC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7959" y="4132710"/>
            <a:ext cx="1280609" cy="12953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4038E18-F94D-E679-572C-DBEBC290D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3433" y="4159709"/>
            <a:ext cx="1310869" cy="12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1994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DFF753-7F28-A86B-8571-637098F21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Llamados a los </a:t>
            </a:r>
            <a:r>
              <a:rPr lang="es-CO" dirty="0" err="1"/>
              <a:t>end-points</a:t>
            </a:r>
            <a:endParaRPr 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45C2473-FC2D-E0A7-78B6-5E6698EA1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3</a:t>
            </a:fld>
            <a:endParaRPr lang="pt-BR"/>
          </a:p>
        </p:txBody>
      </p:sp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DFFD1994-1205-3E5C-126E-D0E7C78629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9" t="19317" r="23914" b="19924"/>
          <a:stretch/>
        </p:blipFill>
        <p:spPr>
          <a:xfrm>
            <a:off x="806161" y="1557175"/>
            <a:ext cx="1777558" cy="208633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42CD85A-1A6A-2885-D1AF-2F4D01E7FF73}"/>
              </a:ext>
            </a:extLst>
          </p:cNvPr>
          <p:cNvSpPr txBox="1"/>
          <p:nvPr/>
        </p:nvSpPr>
        <p:spPr>
          <a:xfrm>
            <a:off x="1275498" y="3643511"/>
            <a:ext cx="838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/>
              <a:t>Cliente</a:t>
            </a:r>
          </a:p>
        </p:txBody>
      </p:sp>
    </p:spTree>
    <p:extLst>
      <p:ext uri="{BB962C8B-B14F-4D97-AF65-F5344CB8AC3E}">
        <p14:creationId xmlns:p14="http://schemas.microsoft.com/office/powerpoint/2010/main" val="3879160636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1A6B5A38-5F6E-0644-9A92-4347F31880B0}"/>
              </a:ext>
            </a:extLst>
          </p:cNvPr>
          <p:cNvSpPr txBox="1"/>
          <p:nvPr/>
        </p:nvSpPr>
        <p:spPr>
          <a:xfrm>
            <a:off x="1316465" y="272687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59DDC67-7AAB-BF4A-A272-A465D056A9E4}"/>
              </a:ext>
            </a:extLst>
          </p:cNvPr>
          <p:cNvSpPr txBox="1"/>
          <p:nvPr/>
        </p:nvSpPr>
        <p:spPr>
          <a:xfrm>
            <a:off x="5229902" y="274405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ealthca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40BB6C-671F-2C4F-A665-938A723255B3}"/>
              </a:ext>
            </a:extLst>
          </p:cNvPr>
          <p:cNvSpPr txBox="1"/>
          <p:nvPr/>
        </p:nvSpPr>
        <p:spPr>
          <a:xfrm>
            <a:off x="9174521" y="271771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Hyperscalers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C7086C-5C90-48B3-8DBA-D1FC99DE8A51}"/>
              </a:ext>
            </a:extLst>
          </p:cNvPr>
          <p:cNvSpPr txBox="1"/>
          <p:nvPr/>
        </p:nvSpPr>
        <p:spPr>
          <a:xfrm>
            <a:off x="9195409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rn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AE6658-BDD8-42BB-AB06-7C0B43B0CC7B}"/>
              </a:ext>
            </a:extLst>
          </p:cNvPr>
          <p:cNvSpPr txBox="1"/>
          <p:nvPr/>
        </p:nvSpPr>
        <p:spPr>
          <a:xfrm>
            <a:off x="1316465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fect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3D23C4-6876-4BCB-9F04-9873DC229FB5}"/>
              </a:ext>
            </a:extLst>
          </p:cNvPr>
          <p:cNvSpPr txBox="1"/>
          <p:nvPr/>
        </p:nvSpPr>
        <p:spPr>
          <a:xfrm>
            <a:off x="5229901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fected Serve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C41807D-9E19-1E77-C606-68FFB5FC0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8BD6FAC3-83C9-41FA-784E-E3C991F73F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0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0342FE-352C-DA39-4283-6AC713DBE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6140" y="1397458"/>
            <a:ext cx="1342781" cy="133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4B5D6F4-52F2-7DFF-0C1B-E73CDEA4BE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5712" y="1409579"/>
            <a:ext cx="1560575" cy="13172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58F7322-DD25-3C36-925C-AC77367DB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5372" y="1438159"/>
            <a:ext cx="1594375" cy="12928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0F71BB8-3A8D-FEC8-BE8C-782B6D6C91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3070" y="4290031"/>
            <a:ext cx="1454539" cy="11646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EC50B1F-524C-539D-7EA9-58ABFA93D7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7385" y="4072719"/>
            <a:ext cx="1732196" cy="137024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652469E-FE06-5FA1-F44F-8999F186D5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94402" y="3985531"/>
            <a:ext cx="1732196" cy="14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39504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95F93897-0A24-DD4A-9D44-9D7F5D1D4A91}"/>
              </a:ext>
            </a:extLst>
          </p:cNvPr>
          <p:cNvSpPr txBox="1"/>
          <p:nvPr/>
        </p:nvSpPr>
        <p:spPr>
          <a:xfrm>
            <a:off x="1483738" y="2784791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rnet Clou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DEBE91-6756-4648-B029-10B7E9C07CB9}"/>
              </a:ext>
            </a:extLst>
          </p:cNvPr>
          <p:cNvSpPr txBox="1"/>
          <p:nvPr/>
        </p:nvSpPr>
        <p:spPr>
          <a:xfrm>
            <a:off x="5229904" y="273836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99C55B6-845D-4DDB-9B4E-7AE9AF7A3672}"/>
              </a:ext>
            </a:extLst>
          </p:cNvPr>
          <p:cNvSpPr txBox="1"/>
          <p:nvPr/>
        </p:nvSpPr>
        <p:spPr>
          <a:xfrm>
            <a:off x="8841851" y="274187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Jit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FBE8A2-9A25-404C-9A5D-FF8D7CA6828C}"/>
              </a:ext>
            </a:extLst>
          </p:cNvPr>
          <p:cNvSpPr txBox="1"/>
          <p:nvPr/>
        </p:nvSpPr>
        <p:spPr>
          <a:xfrm>
            <a:off x="1683449" y="510763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oad Balanc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DD66B8-C313-4D36-A330-F6376428CF26}"/>
              </a:ext>
            </a:extLst>
          </p:cNvPr>
          <p:cNvSpPr txBox="1"/>
          <p:nvPr/>
        </p:nvSpPr>
        <p:spPr>
          <a:xfrm>
            <a:off x="4860985" y="5169191"/>
            <a:ext cx="2470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Adaptive Virtual Services (AV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558E09-6073-4E27-9444-1CB2F6479118}"/>
              </a:ext>
            </a:extLst>
          </p:cNvPr>
          <p:cNvSpPr txBox="1"/>
          <p:nvPr/>
        </p:nvSpPr>
        <p:spPr>
          <a:xfrm>
            <a:off x="8612911" y="5180236"/>
            <a:ext cx="2190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Edge Orchestrato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90724813-B3A6-54F0-640A-0A56DF9AB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0845F8DC-27F9-B21E-A9E6-A2868758F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1</a:t>
            </a:fld>
            <a:endParaRPr lang="pt-B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977DE7-A0DA-F1FE-DC88-C06E342A4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3943" y="1331638"/>
            <a:ext cx="1596728" cy="13376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098B8-2AA4-8E69-4B42-46D499FFA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350" y="1380785"/>
            <a:ext cx="1303299" cy="12884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5EC3A7-9EE2-1F4D-0E01-56D744A31D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4187" y="1501087"/>
            <a:ext cx="1554364" cy="11681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2FB6F9F-2D52-32B3-1F65-65971FFFDD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5703" y="3643027"/>
            <a:ext cx="1304544" cy="13867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B78D8F7-2A57-02D7-EC91-6D7C839E05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5555" y="3611566"/>
            <a:ext cx="1562996" cy="150001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467FEE-F319-E13A-36FC-43524D6034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9903" y="3782354"/>
            <a:ext cx="1562997" cy="125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054294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AB6CE8D3-97FC-8C47-955F-012377A31791}"/>
              </a:ext>
            </a:extLst>
          </p:cNvPr>
          <p:cNvSpPr txBox="1"/>
          <p:nvPr/>
        </p:nvSpPr>
        <p:spPr>
          <a:xfrm>
            <a:off x="1394003" y="27252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lwa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CEA09D5-377A-4FD5-A215-C8794A8A186A}"/>
              </a:ext>
            </a:extLst>
          </p:cNvPr>
          <p:cNvSpPr txBox="1"/>
          <p:nvPr/>
        </p:nvSpPr>
        <p:spPr>
          <a:xfrm>
            <a:off x="9157123" y="27252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248FB5-A440-4829-9DC2-193D948C7080}"/>
              </a:ext>
            </a:extLst>
          </p:cNvPr>
          <p:cNvSpPr txBox="1"/>
          <p:nvPr/>
        </p:nvSpPr>
        <p:spPr>
          <a:xfrm>
            <a:off x="1208800" y="5363880"/>
            <a:ext cx="21026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edia and Entertain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4AC5B7-2FBC-4074-8743-3CF010258073}"/>
              </a:ext>
            </a:extLst>
          </p:cNvPr>
          <p:cNvSpPr txBox="1"/>
          <p:nvPr/>
        </p:nvSpPr>
        <p:spPr>
          <a:xfrm>
            <a:off x="5229901" y="53638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igr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FAD0F1-E6DF-4326-9F2F-AED352309C0B}"/>
              </a:ext>
            </a:extLst>
          </p:cNvPr>
          <p:cNvSpPr txBox="1"/>
          <p:nvPr/>
        </p:nvSpPr>
        <p:spPr>
          <a:xfrm>
            <a:off x="9220209" y="53638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onitor 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FA1963D7-0C34-5476-B0AA-D5585DBD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25C1FB24-01E4-D46E-3A43-B7BB1644D1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2</a:t>
            </a:fld>
            <a:endParaRPr lang="pt-BR"/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608472C6-8E83-CCCB-868B-2BD7466B9D17}"/>
              </a:ext>
            </a:extLst>
          </p:cNvPr>
          <p:cNvSpPr txBox="1"/>
          <p:nvPr/>
        </p:nvSpPr>
        <p:spPr>
          <a:xfrm>
            <a:off x="4736782" y="2836821"/>
            <a:ext cx="24153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ge Compu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2E0413A-7F1F-BD1F-3DA5-17F1248373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9901" y="1256609"/>
            <a:ext cx="1407603" cy="14900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A39222-5395-9B7A-0F56-54F228FD8D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2452" y="1362830"/>
            <a:ext cx="1297802" cy="12538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64C1E13-CD0A-7DDB-BFF6-DA5C72C6D7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9420" y="1318513"/>
            <a:ext cx="1407602" cy="14022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9F7056-76F6-76DC-C745-1452D758AC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4002" y="4032277"/>
            <a:ext cx="1732196" cy="13521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E461C1-3D7A-098A-6E16-0BE962CEDA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1438" y="3733303"/>
            <a:ext cx="1589122" cy="16305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763F426-94E4-BDD5-A9EC-EB8D130059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30395" y="4032277"/>
            <a:ext cx="1658924" cy="133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879033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F6734A01-F631-5346-B26C-E2E2FEFCDDC7}"/>
              </a:ext>
            </a:extLst>
          </p:cNvPr>
          <p:cNvSpPr txBox="1"/>
          <p:nvPr/>
        </p:nvSpPr>
        <p:spPr>
          <a:xfrm>
            <a:off x="5110633" y="364291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Solut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16421C-75A0-A147-8AD4-EBA4327556E2}"/>
              </a:ext>
            </a:extLst>
          </p:cNvPr>
          <p:cNvSpPr txBox="1"/>
          <p:nvPr/>
        </p:nvSpPr>
        <p:spPr>
          <a:xfrm>
            <a:off x="1901215" y="2820703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PLS / IP-VPN Servi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D94356-2789-4FD2-8565-31B4E87E1C60}"/>
              </a:ext>
            </a:extLst>
          </p:cNvPr>
          <p:cNvSpPr txBox="1"/>
          <p:nvPr/>
        </p:nvSpPr>
        <p:spPr>
          <a:xfrm>
            <a:off x="1862147" y="535413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nline Shopp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ABC7E1-A158-4269-A8C2-4B64B38B70F5}"/>
              </a:ext>
            </a:extLst>
          </p:cNvPr>
          <p:cNvSpPr txBox="1"/>
          <p:nvPr/>
        </p:nvSpPr>
        <p:spPr>
          <a:xfrm>
            <a:off x="8441711" y="5335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harm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8C4B44-C408-43C3-B891-7F33C851D18A}"/>
              </a:ext>
            </a:extLst>
          </p:cNvPr>
          <p:cNvSpPr txBox="1"/>
          <p:nvPr/>
        </p:nvSpPr>
        <p:spPr>
          <a:xfrm>
            <a:off x="8353457" y="28401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ortal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23DBC78-A259-CAB2-6872-C4A97C9C3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958EAAE-F1D8-32D0-7072-B45DF308A9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3</a:t>
            </a:fld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80601F2-EFDF-C685-AF37-FCF5AABA3B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5535" y="2434957"/>
            <a:ext cx="1560575" cy="10441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3E47DF-1D70-58B4-2B75-85EC6C845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3071" y="1269036"/>
            <a:ext cx="1440339" cy="14697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953819-C7C9-4749-076A-B9F093216D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8093" y="4008980"/>
            <a:ext cx="1581713" cy="13267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34BE9D6-FB6E-DA14-86F8-47E419ED94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8591" y="3893135"/>
            <a:ext cx="1498597" cy="13376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C4E5366-B0CD-80F7-9B59-5A0ED3C3B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41711" y="1345048"/>
            <a:ext cx="1732196" cy="139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06008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27D39CC7-3E00-48B0-8AD7-7F449CC4F2AC}"/>
              </a:ext>
            </a:extLst>
          </p:cNvPr>
          <p:cNvSpPr txBox="1"/>
          <p:nvPr/>
        </p:nvSpPr>
        <p:spPr>
          <a:xfrm>
            <a:off x="1543142" y="291297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cket delive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B7FE33-1DAD-47C5-B1C6-A41D385F0DC2}"/>
              </a:ext>
            </a:extLst>
          </p:cNvPr>
          <p:cNvSpPr txBox="1"/>
          <p:nvPr/>
        </p:nvSpPr>
        <p:spPr>
          <a:xfrm>
            <a:off x="5229902" y="281358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rivate Branch Exchange (PBX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59C1A04-73E3-40EF-8C4A-0E200A94A9D3}"/>
              </a:ext>
            </a:extLst>
          </p:cNvPr>
          <p:cNvSpPr txBox="1"/>
          <p:nvPr/>
        </p:nvSpPr>
        <p:spPr>
          <a:xfrm>
            <a:off x="8997151" y="291325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rivate Fiber Networ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EC247-0DDF-40E7-B026-F7FADB6F6D12}"/>
              </a:ext>
            </a:extLst>
          </p:cNvPr>
          <p:cNvSpPr txBox="1"/>
          <p:nvPr/>
        </p:nvSpPr>
        <p:spPr>
          <a:xfrm>
            <a:off x="1543142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6ACB8F0-5A78-4E9C-8266-4E446B82FAF1}"/>
              </a:ext>
            </a:extLst>
          </p:cNvPr>
          <p:cNvSpPr txBox="1"/>
          <p:nvPr/>
        </p:nvSpPr>
        <p:spPr>
          <a:xfrm>
            <a:off x="5246751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isk categor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D60D055-0509-4954-8427-FE65AD845156}"/>
              </a:ext>
            </a:extLst>
          </p:cNvPr>
          <p:cNvSpPr txBox="1"/>
          <p:nvPr/>
        </p:nvSpPr>
        <p:spPr>
          <a:xfrm>
            <a:off x="9234737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isk rating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5FAFA63F-722C-EECD-E93A-07403BABB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4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166E78-D8AF-1DDE-0C4F-E081BF86A0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984" y="1283289"/>
            <a:ext cx="1466758" cy="1530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33FDF2-AE78-9CDB-89E0-8379A305FD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3140" y="1283289"/>
            <a:ext cx="1466758" cy="14371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062909-CB7D-3D8D-4B16-679B3DC401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4737" y="1341914"/>
            <a:ext cx="1471675" cy="14716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1F1F7F-4569-A84A-D1CB-DBA00BA262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3689" y="4063071"/>
            <a:ext cx="1404053" cy="13931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B0FC219-B043-C3B9-416F-493088D5B7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3652" y="3967973"/>
            <a:ext cx="1458393" cy="14583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13B87A-EE68-C89C-8E75-EE48433DD0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31155" y="3944572"/>
            <a:ext cx="1500471" cy="1494587"/>
          </a:xfrm>
          <a:prstGeom prst="rect">
            <a:avLst/>
          </a:prstGeom>
        </p:spPr>
      </p:pic>
      <p:sp>
        <p:nvSpPr>
          <p:cNvPr id="18" name="Título 2">
            <a:extLst>
              <a:ext uri="{FF2B5EF4-FFF2-40B4-BE49-F238E27FC236}">
                <a16:creationId xmlns:a16="http://schemas.microsoft.com/office/drawing/2014/main" id="{FDEF262C-B414-B7BB-3515-319814C44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926976762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5E856F91-B338-444F-A83A-A88F5BB8812F}"/>
              </a:ext>
            </a:extLst>
          </p:cNvPr>
          <p:cNvSpPr txBox="1"/>
          <p:nvPr/>
        </p:nvSpPr>
        <p:spPr>
          <a:xfrm>
            <a:off x="7128979" y="527941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AP Applic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273222-EA4E-4FFF-980C-A6F14E1295AC}"/>
              </a:ext>
            </a:extLst>
          </p:cNvPr>
          <p:cNvSpPr txBox="1"/>
          <p:nvPr/>
        </p:nvSpPr>
        <p:spPr>
          <a:xfrm>
            <a:off x="7111926" y="29977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48C492-A9CA-4F06-B956-C75489F21E0D}"/>
              </a:ext>
            </a:extLst>
          </p:cNvPr>
          <p:cNvSpPr txBox="1"/>
          <p:nvPr/>
        </p:nvSpPr>
        <p:spPr>
          <a:xfrm>
            <a:off x="3238639" y="29977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 Mi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4FCFFDD-5420-4892-BBA2-601FB501CF95}"/>
              </a:ext>
            </a:extLst>
          </p:cNvPr>
          <p:cNvSpPr txBox="1"/>
          <p:nvPr/>
        </p:nvSpPr>
        <p:spPr>
          <a:xfrm>
            <a:off x="3257615" y="53585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atelli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0B8D01D-823D-0CCD-5EDD-1434096BA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5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54284E-D7D1-DFAB-3C4D-B61E321241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71" y="1650019"/>
            <a:ext cx="1275954" cy="12952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436FEA-E84D-3D43-F90C-61E6F1F25B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1467" y="1583526"/>
            <a:ext cx="1280344" cy="13271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1593E0-6FFF-B313-87A4-7A7458BD1C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1926" y="3931655"/>
            <a:ext cx="1766299" cy="12952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BF44EA-50C1-3C64-E46C-A1F4A1F3F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5547" y="3723667"/>
            <a:ext cx="1548384" cy="1537324"/>
          </a:xfrm>
          <a:prstGeom prst="rect">
            <a:avLst/>
          </a:prstGeom>
        </p:spPr>
      </p:pic>
      <p:sp>
        <p:nvSpPr>
          <p:cNvPr id="14" name="Título 2">
            <a:extLst>
              <a:ext uri="{FF2B5EF4-FFF2-40B4-BE49-F238E27FC236}">
                <a16:creationId xmlns:a16="http://schemas.microsoft.com/office/drawing/2014/main" id="{4C5A5C5D-56A8-B73E-30E5-6312A28FE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3" y="227013"/>
            <a:ext cx="9859962" cy="792162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2511367697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644222D8-D03E-45FB-A14A-C1F908E3FD52}"/>
              </a:ext>
            </a:extLst>
          </p:cNvPr>
          <p:cNvSpPr txBox="1"/>
          <p:nvPr/>
        </p:nvSpPr>
        <p:spPr>
          <a:xfrm>
            <a:off x="8334617" y="272808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D-WA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F5B1F4-23B7-4498-A855-96B34469AB78}"/>
              </a:ext>
            </a:extLst>
          </p:cNvPr>
          <p:cNvSpPr txBox="1"/>
          <p:nvPr/>
        </p:nvSpPr>
        <p:spPr>
          <a:xfrm>
            <a:off x="2207614" y="298752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reen Shar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824509-61C5-47BF-B0E7-6F730A88D20A}"/>
              </a:ext>
            </a:extLst>
          </p:cNvPr>
          <p:cNvSpPr txBox="1"/>
          <p:nvPr/>
        </p:nvSpPr>
        <p:spPr>
          <a:xfrm>
            <a:off x="5368961" y="42100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1FB8C0-292A-41FC-9810-88FCFDBFE604}"/>
              </a:ext>
            </a:extLst>
          </p:cNvPr>
          <p:cNvSpPr txBox="1"/>
          <p:nvPr/>
        </p:nvSpPr>
        <p:spPr>
          <a:xfrm>
            <a:off x="2073793" y="5221581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D-WAN Router / Intelligent Rout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A4E58-D1BB-4D12-BC2A-5351BD28387C}"/>
              </a:ext>
            </a:extLst>
          </p:cNvPr>
          <p:cNvSpPr txBox="1"/>
          <p:nvPr/>
        </p:nvSpPr>
        <p:spPr>
          <a:xfrm>
            <a:off x="8460123" y="5322534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Endpoint application)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F25A04E-4B4F-DFDA-1D9E-1551DE48E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6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1917A-D503-C454-7125-6D96DBB4BA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8574" y="1644045"/>
            <a:ext cx="1548384" cy="13610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50D3BD-E0D8-736B-E1EA-F396AC35C2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5249" y="1452827"/>
            <a:ext cx="1365726" cy="11364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D28AC15-6567-ED39-18DB-1742DDF5B8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9776" y="4190720"/>
            <a:ext cx="1359493" cy="9478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21E9F87-633A-46F8-DDBE-A76DEBCA1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1444" y="2884248"/>
            <a:ext cx="936779" cy="11659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0BF1CA8-6A82-E5E0-7B12-7D0EFCD064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7308" y="4050239"/>
            <a:ext cx="1594662" cy="1252949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62EE3347-B496-C5A3-11FF-E2596D5A7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3072704634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19D54E9F-B8C7-40BE-B782-69299FC40F85}"/>
              </a:ext>
            </a:extLst>
          </p:cNvPr>
          <p:cNvSpPr txBox="1"/>
          <p:nvPr/>
        </p:nvSpPr>
        <p:spPr>
          <a:xfrm>
            <a:off x="8781743" y="327055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IP / Voice call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D23F706-081B-48A7-A74B-BBD5E3116A5F}"/>
              </a:ext>
            </a:extLst>
          </p:cNvPr>
          <p:cNvSpPr txBox="1"/>
          <p:nvPr/>
        </p:nvSpPr>
        <p:spPr>
          <a:xfrm>
            <a:off x="1149155" y="2970967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7FC94F-CC32-4603-8097-A335E0AA9776}"/>
              </a:ext>
            </a:extLst>
          </p:cNvPr>
          <p:cNvSpPr txBox="1"/>
          <p:nvPr/>
        </p:nvSpPr>
        <p:spPr>
          <a:xfrm>
            <a:off x="4990761" y="284343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ssion Border Controll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FF9B87-A1D8-4FF5-AEAB-DEE72672842D}"/>
              </a:ext>
            </a:extLst>
          </p:cNvPr>
          <p:cNvSpPr txBox="1"/>
          <p:nvPr/>
        </p:nvSpPr>
        <p:spPr>
          <a:xfrm>
            <a:off x="9037808" y="544899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ystem Integrato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71DAE2-64CC-4B02-929C-2EC9FD002BE7}"/>
              </a:ext>
            </a:extLst>
          </p:cNvPr>
          <p:cNvSpPr txBox="1"/>
          <p:nvPr/>
        </p:nvSpPr>
        <p:spPr>
          <a:xfrm>
            <a:off x="5246826" y="544899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pee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26020B1-9F32-4A2B-9CF2-B83DA52F932A}"/>
              </a:ext>
            </a:extLst>
          </p:cNvPr>
          <p:cNvSpPr txBox="1"/>
          <p:nvPr/>
        </p:nvSpPr>
        <p:spPr>
          <a:xfrm>
            <a:off x="1464543" y="537597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pam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4D838DFA-4E61-2252-222F-9ECF39E8F2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7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63BC1B-F344-29FA-9F55-5CFD65F53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662" y="1624087"/>
            <a:ext cx="1321313" cy="13213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5C4321-54D2-E7A0-6B9B-AFD7022EF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6579" y="1624087"/>
            <a:ext cx="1632691" cy="12193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1BAB8F-7C1E-D0D0-251D-A953CF84D3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8179" y="1481518"/>
            <a:ext cx="1632692" cy="16535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D348CC-1599-BA19-C96B-6566BB36C9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5531" y="4023193"/>
            <a:ext cx="1462760" cy="135277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458B58-F67C-E053-7AF0-CA1BF1245E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7560" y="3936537"/>
            <a:ext cx="1632691" cy="14956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4CE339-A5BA-71B9-BE06-BC15CED715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6265" y="4085989"/>
            <a:ext cx="1324981" cy="1289982"/>
          </a:xfrm>
          <a:prstGeom prst="rect">
            <a:avLst/>
          </a:prstGeom>
        </p:spPr>
      </p:pic>
      <p:sp>
        <p:nvSpPr>
          <p:cNvPr id="18" name="Título 2">
            <a:extLst>
              <a:ext uri="{FF2B5EF4-FFF2-40B4-BE49-F238E27FC236}">
                <a16:creationId xmlns:a16="http://schemas.microsoft.com/office/drawing/2014/main" id="{8D71CA56-11E2-7E72-D77F-DC6DA7B28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3075186758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CBD9B8CD-5183-404B-AA70-B1760BFC7E53}"/>
              </a:ext>
            </a:extLst>
          </p:cNvPr>
          <p:cNvSpPr txBox="1"/>
          <p:nvPr/>
        </p:nvSpPr>
        <p:spPr>
          <a:xfrm>
            <a:off x="1731285" y="31795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ech Suppor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991862-A9C8-46B9-8D47-9C92A50C93B4}"/>
              </a:ext>
            </a:extLst>
          </p:cNvPr>
          <p:cNvSpPr txBox="1"/>
          <p:nvPr/>
        </p:nvSpPr>
        <p:spPr>
          <a:xfrm>
            <a:off x="5136958" y="40765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eleport (hub, master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7854DB-95CF-4FBD-A0F1-B48CFF7D3897}"/>
              </a:ext>
            </a:extLst>
          </p:cNvPr>
          <p:cNvSpPr txBox="1"/>
          <p:nvPr/>
        </p:nvSpPr>
        <p:spPr>
          <a:xfrm>
            <a:off x="8451125" y="321330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at Dete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0DE5A7-7EC2-4A58-87F8-CBE4E9E1BCD1}"/>
              </a:ext>
            </a:extLst>
          </p:cNvPr>
          <p:cNvSpPr txBox="1"/>
          <p:nvPr/>
        </p:nvSpPr>
        <p:spPr>
          <a:xfrm>
            <a:off x="8241812" y="5661445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otal Solu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5656FA-8518-46FC-B6CC-F83BA78D4DA0}"/>
              </a:ext>
            </a:extLst>
          </p:cNvPr>
          <p:cNvSpPr txBox="1"/>
          <p:nvPr/>
        </p:nvSpPr>
        <p:spPr>
          <a:xfrm>
            <a:off x="1859626" y="562769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at Intelligenc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EE35C89-597E-BCC7-16CA-968EE46A3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8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679C68-1EB0-3E5C-58C2-3AAEA28A05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8679" y="1766948"/>
            <a:ext cx="1361855" cy="13618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A99D4E-E3B0-03B6-EBC1-C4E6B5E57F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396" y="2803686"/>
            <a:ext cx="1255572" cy="12506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DA051B-4AD7-C0F5-ECF2-B1FAB7BFC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36296" y="1766948"/>
            <a:ext cx="1361855" cy="13618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139183-DDD8-3A06-A3BC-676B3575BF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0393" y="4301911"/>
            <a:ext cx="1310661" cy="13257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3BAD237-5560-C5D2-5E53-F945F9E8CF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7490" y="4353575"/>
            <a:ext cx="1310661" cy="1310661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9EC652E3-B101-2677-DE8B-6AC07F813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2087855868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A3EF4DF6-53C2-4A89-9430-E6CD501871DB}"/>
              </a:ext>
            </a:extLst>
          </p:cNvPr>
          <p:cNvSpPr txBox="1"/>
          <p:nvPr/>
        </p:nvSpPr>
        <p:spPr>
          <a:xfrm>
            <a:off x="8810240" y="303813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Upload / 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232B59-D96F-4182-8B5C-DA5BE1B20660}"/>
              </a:ext>
            </a:extLst>
          </p:cNvPr>
          <p:cNvSpPr txBox="1"/>
          <p:nvPr/>
        </p:nvSpPr>
        <p:spPr>
          <a:xfrm>
            <a:off x="1832748" y="310746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UC&amp;C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9E82A1-7DC2-4B58-ADE8-13D6E7A0636F}"/>
              </a:ext>
            </a:extLst>
          </p:cNvPr>
          <p:cNvSpPr txBox="1"/>
          <p:nvPr/>
        </p:nvSpPr>
        <p:spPr>
          <a:xfrm>
            <a:off x="8914992" y="54886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oi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12367B-3661-41D3-A28B-A35D7EB61229}"/>
              </a:ext>
            </a:extLst>
          </p:cNvPr>
          <p:cNvSpPr txBox="1"/>
          <p:nvPr/>
        </p:nvSpPr>
        <p:spPr>
          <a:xfrm>
            <a:off x="5174346" y="4412812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rtual Desktop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B4907AD-12F5-4A31-AA9A-2B35BA143C58}"/>
              </a:ext>
            </a:extLst>
          </p:cNvPr>
          <p:cNvSpPr txBox="1"/>
          <p:nvPr/>
        </p:nvSpPr>
        <p:spPr>
          <a:xfrm>
            <a:off x="2069749" y="55534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deo chat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076C789-2645-958E-65A0-FC2EC98AF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9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9B3B14-4430-00B4-6B59-7BC221617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2471" y="1631093"/>
            <a:ext cx="1732196" cy="15138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78BC99-991E-6201-009B-D5964D453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9047" y="1631093"/>
            <a:ext cx="1304545" cy="13404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EDDBC29-1647-1C96-EE48-3E22473B22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21185" y="4146358"/>
            <a:ext cx="1383234" cy="14046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4BA69-5DC1-AAEA-7FE5-ADBF714728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178" y="2681094"/>
            <a:ext cx="1865110" cy="17293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69EC259-63AA-69D0-2E15-C7B639E334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7468" y="4010200"/>
            <a:ext cx="1306124" cy="1361004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DEC6C8E3-388F-D4FE-DFA9-B671B09F7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65132971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B4ECCB-BD36-6570-17E0-1FF09B74D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Network </a:t>
            </a:r>
            <a:r>
              <a:rPr lang="es-AR" err="1"/>
              <a:t>Activation</a:t>
            </a:r>
            <a:r>
              <a:rPr lang="es-AR"/>
              <a:t> – IP/Metro 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A89A273-FFA9-F41A-D971-DD71967F798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219BE7-B8E6-B529-47C3-8E3272F71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8821771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F6768D17-E209-4A00-A934-E74F00AFAE2F}"/>
              </a:ext>
            </a:extLst>
          </p:cNvPr>
          <p:cNvSpPr txBox="1"/>
          <p:nvPr/>
        </p:nvSpPr>
        <p:spPr>
          <a:xfrm>
            <a:off x="5362424" y="43068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ulnerabili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03552D-BC4F-48F3-ACFE-9AF5EAB054A9}"/>
              </a:ext>
            </a:extLst>
          </p:cNvPr>
          <p:cNvSpPr txBox="1"/>
          <p:nvPr/>
        </p:nvSpPr>
        <p:spPr>
          <a:xfrm>
            <a:off x="8830763" y="315200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arn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E1EB65-093C-4896-9572-9FF324AD853D}"/>
              </a:ext>
            </a:extLst>
          </p:cNvPr>
          <p:cNvSpPr txBox="1"/>
          <p:nvPr/>
        </p:nvSpPr>
        <p:spPr>
          <a:xfrm>
            <a:off x="1700775" y="296432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PN Gatewa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9252E1E-C595-4EDE-BF78-28F3CC5664BD}"/>
              </a:ext>
            </a:extLst>
          </p:cNvPr>
          <p:cNvSpPr txBox="1"/>
          <p:nvPr/>
        </p:nvSpPr>
        <p:spPr>
          <a:xfrm>
            <a:off x="8813487" y="55019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i-Fi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338A98-A632-4D80-B03E-5F2F776ED95E}"/>
              </a:ext>
            </a:extLst>
          </p:cNvPr>
          <p:cNvSpPr txBox="1"/>
          <p:nvPr/>
        </p:nvSpPr>
        <p:spPr>
          <a:xfrm>
            <a:off x="1760674" y="54083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avelength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D2B816C7-5BF4-64B4-0AFA-DFA144C74C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0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507646-8D58-223A-DF64-5BAA61591A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393" y="1485665"/>
            <a:ext cx="1616578" cy="14206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2B376D-5A74-AB1E-C510-9C701B00E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2573" y="2656562"/>
            <a:ext cx="1817500" cy="15448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55B9C9-A355-8CF9-8FBA-EDFE2267D7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6555" y="1601742"/>
            <a:ext cx="1461657" cy="14502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441A045-C765-DB6F-9D93-B166352394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1362" y="4011637"/>
            <a:ext cx="1430819" cy="137265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00F88F-8761-3605-D62E-2646134B0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4174" y="4011637"/>
            <a:ext cx="1430820" cy="1398424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8DFB9AC0-016E-19FD-5D0E-E0B87838D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054989273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F269F79-69CD-4045-81BC-B53E2EFB9549}"/>
              </a:ext>
            </a:extLst>
          </p:cNvPr>
          <p:cNvSpPr txBox="1"/>
          <p:nvPr/>
        </p:nvSpPr>
        <p:spPr>
          <a:xfrm>
            <a:off x="5409981" y="536877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r (device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5423686" y="300526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P Phon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1765412" y="30032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skto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14F179-4D81-D74F-9C21-5C49B5FB6259}"/>
              </a:ext>
            </a:extLst>
          </p:cNvPr>
          <p:cNvSpPr txBox="1"/>
          <p:nvPr/>
        </p:nvSpPr>
        <p:spPr>
          <a:xfrm>
            <a:off x="8882556" y="5366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rv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A67814-C342-E844-A1B0-09AD7ADF9E55}"/>
              </a:ext>
            </a:extLst>
          </p:cNvPr>
          <p:cNvSpPr txBox="1"/>
          <p:nvPr/>
        </p:nvSpPr>
        <p:spPr>
          <a:xfrm>
            <a:off x="8833187" y="30032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pto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8612DD-9A77-154A-BB63-4C4BD542FC32}"/>
              </a:ext>
            </a:extLst>
          </p:cNvPr>
          <p:cNvSpPr txBox="1"/>
          <p:nvPr/>
        </p:nvSpPr>
        <p:spPr>
          <a:xfrm>
            <a:off x="1734840" y="5366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obile Phone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BC14D099-08D7-AE07-98BB-366B9AE2C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Dispositiv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C5A6F6D-4CBE-8CF4-C76A-01EC661F3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1</a:t>
            </a:fld>
            <a:endParaRPr lang="pt-B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BFDE2B-BB29-BC4D-1C8B-6C059D9B17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679" y="1758977"/>
            <a:ext cx="1533612" cy="11928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10A2B5B-2E57-0EA0-D3F6-C0540B7ED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781" y="1853294"/>
            <a:ext cx="1412005" cy="10755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9801920-9461-890A-A356-6F1498C5CA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8159" y="1577767"/>
            <a:ext cx="1732196" cy="14684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7A6BC56-F56A-3904-97AE-59F81D729B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5135" y="3828867"/>
            <a:ext cx="811606" cy="143755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A77C61-BABA-6B05-361A-87922C1E9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8684" y="3888291"/>
            <a:ext cx="1585805" cy="138013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504C4B0-1D5B-4ABE-1E3A-11F2B99CDC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1061" y="3977235"/>
            <a:ext cx="1348520" cy="130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347519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CBAA56EA-5703-9E42-AA01-82ABE9E586B8}"/>
              </a:ext>
            </a:extLst>
          </p:cNvPr>
          <p:cNvSpPr txBox="1"/>
          <p:nvPr/>
        </p:nvSpPr>
        <p:spPr>
          <a:xfrm>
            <a:off x="2252576" y="351828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witc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5A8FF86-1174-C441-AF3C-7DACA1AC4E04}"/>
              </a:ext>
            </a:extLst>
          </p:cNvPr>
          <p:cNvSpPr txBox="1"/>
          <p:nvPr/>
        </p:nvSpPr>
        <p:spPr>
          <a:xfrm>
            <a:off x="7822951" y="353169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deo stream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CB0AE9-B7A7-4888-82CF-A98737FDEC6A}"/>
              </a:ext>
            </a:extLst>
          </p:cNvPr>
          <p:cNvSpPr txBox="1"/>
          <p:nvPr/>
        </p:nvSpPr>
        <p:spPr>
          <a:xfrm>
            <a:off x="4947332" y="351828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sholds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FFE42131-6CB5-6F0F-2E6C-2157B4747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Dispositiv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9B4CB7F0-2372-02D8-4411-73A93E290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2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C7885D-874B-B1F7-EBE5-194DCF8FB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6304" y="2001078"/>
            <a:ext cx="1408883" cy="14279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6013FD-3FA5-0270-8C3F-9420D8117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0939" y="2001078"/>
            <a:ext cx="1464245" cy="14319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4C2C0D9-41CE-D243-F4D8-8DA61CA6D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2234" y="2138481"/>
            <a:ext cx="2245045" cy="129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233640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2404045" y="5366479"/>
            <a:ext cx="27224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all Center / Customer Contact Cen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6763277" y="278372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ranch Offi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A67814-C342-E844-A1B0-09AD7ADF9E55}"/>
              </a:ext>
            </a:extLst>
          </p:cNvPr>
          <p:cNvSpPr txBox="1"/>
          <p:nvPr/>
        </p:nvSpPr>
        <p:spPr>
          <a:xfrm>
            <a:off x="6763277" y="53664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A2596F-0639-1943-A245-C6F1C22D8131}"/>
              </a:ext>
            </a:extLst>
          </p:cNvPr>
          <p:cNvSpPr txBox="1"/>
          <p:nvPr/>
        </p:nvSpPr>
        <p:spPr>
          <a:xfrm>
            <a:off x="2899165" y="272470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ank $ (USD)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5AA2C471-12B4-2EA3-0113-E6F2BA44B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38CD356-0FE1-947F-8959-7F50644D17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3</a:t>
            </a:fld>
            <a:endParaRPr lang="pt-B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1DADFB-B8BC-4325-9954-BAFA5DC11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9002" y="1271317"/>
            <a:ext cx="1732195" cy="15086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6A48F95-110D-45EF-F42D-6C7BF0251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360" y="1115237"/>
            <a:ext cx="1604105" cy="16647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E07AD9F-7DE9-B06E-753C-F0055331CC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9163" y="3738262"/>
            <a:ext cx="1732197" cy="160211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0A155A7-4584-691E-9D27-F639810410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7167" y="3818868"/>
            <a:ext cx="1467688" cy="1547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9179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8529587" y="554621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Glob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3E9F48-DA36-834D-8297-5ECA719DA463}"/>
              </a:ext>
            </a:extLst>
          </p:cNvPr>
          <p:cNvSpPr txBox="1"/>
          <p:nvPr/>
        </p:nvSpPr>
        <p:spPr>
          <a:xfrm>
            <a:off x="4973836" y="5505101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Q (Headquarter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D2E899-1D70-EF46-B832-0F4BFDD233A5}"/>
              </a:ext>
            </a:extLst>
          </p:cNvPr>
          <p:cNvSpPr txBox="1"/>
          <p:nvPr/>
        </p:nvSpPr>
        <p:spPr>
          <a:xfrm>
            <a:off x="1902640" y="265070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lob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992E07-9412-3944-9623-AC94E81ADB6A}"/>
              </a:ext>
            </a:extLst>
          </p:cNvPr>
          <p:cNvSpPr txBox="1"/>
          <p:nvPr/>
        </p:nvSpPr>
        <p:spPr>
          <a:xfrm>
            <a:off x="1702793" y="542222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EF1D76F-600D-CD41-AC14-C02164C7743F}"/>
              </a:ext>
            </a:extLst>
          </p:cNvPr>
          <p:cNvSpPr txBox="1"/>
          <p:nvPr/>
        </p:nvSpPr>
        <p:spPr>
          <a:xfrm>
            <a:off x="5153755" y="27335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vernm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5CF1B16-3463-6240-8B35-E20808B7B4AC}"/>
              </a:ext>
            </a:extLst>
          </p:cNvPr>
          <p:cNvSpPr txBox="1"/>
          <p:nvPr/>
        </p:nvSpPr>
        <p:spPr>
          <a:xfrm>
            <a:off x="8462026" y="2774688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vernment 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state &amp; local)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CBC4462-E627-3E7D-6DF4-F67286ECF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E7F5B18-30AF-07C9-6658-32D2CDA51B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4</a:t>
            </a:fld>
            <a:endParaRPr lang="pt-B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7749A21-F6C1-4A0C-8051-F34FD591D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2284" y="1373981"/>
            <a:ext cx="1249384" cy="12330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DB7E816-BEA3-ED7C-8B2E-F356BFAF3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8777" y="1120745"/>
            <a:ext cx="1414069" cy="16128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14A55F-836D-C3B4-1520-EA1B5E6F0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8462" y="1182491"/>
            <a:ext cx="1850654" cy="155108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AF251AF-E250-8899-4001-DC70576EDD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6384" y="3979745"/>
            <a:ext cx="1558452" cy="139877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D369BC5-DD3E-5605-FF22-7E7E9A59CB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8777" y="3886525"/>
            <a:ext cx="1558453" cy="15909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2603D01-00C9-D75E-07B6-352411617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6491" y="3973236"/>
            <a:ext cx="1218388" cy="155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103461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EE56399B-3362-5A4D-9BFE-B9A718637182}"/>
              </a:ext>
            </a:extLst>
          </p:cNvPr>
          <p:cNvSpPr txBox="1"/>
          <p:nvPr/>
        </p:nvSpPr>
        <p:spPr>
          <a:xfrm>
            <a:off x="5279233" y="417377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mote Off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876577-2ED8-484B-A1A0-F090980FC2A4}"/>
              </a:ext>
            </a:extLst>
          </p:cNvPr>
          <p:cNvSpPr txBox="1"/>
          <p:nvPr/>
        </p:nvSpPr>
        <p:spPr>
          <a:xfrm>
            <a:off x="8300723" y="5719667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mart C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5D1A4B-E95B-AC40-A9CB-4326703E8C29}"/>
              </a:ext>
            </a:extLst>
          </p:cNvPr>
          <p:cNvSpPr txBox="1"/>
          <p:nvPr/>
        </p:nvSpPr>
        <p:spPr>
          <a:xfrm>
            <a:off x="2265870" y="545592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mart Build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547AE3-9461-3D44-A152-6760BF431D0D}"/>
              </a:ext>
            </a:extLst>
          </p:cNvPr>
          <p:cNvSpPr txBox="1"/>
          <p:nvPr/>
        </p:nvSpPr>
        <p:spPr>
          <a:xfrm>
            <a:off x="2183665" y="27736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tail Lo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1E15F2-8965-AE4F-B2DF-31D892F869F7}"/>
              </a:ext>
            </a:extLst>
          </p:cNvPr>
          <p:cNvSpPr txBox="1"/>
          <p:nvPr/>
        </p:nvSpPr>
        <p:spPr>
          <a:xfrm>
            <a:off x="8514094" y="2959794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 Operations Center (SOC)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2585464-348E-005C-7763-2A5B089F8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36255B8-2DA6-A066-E06F-912D68BA5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5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26DAAE-C896-1533-34AF-79250E8C2D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4874" y="1568616"/>
            <a:ext cx="1441770" cy="11820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7FD068-3D5D-5DB2-1420-3A0B5E6D8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4704" y="2681854"/>
            <a:ext cx="1441770" cy="14919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A78C187-AAF5-4FFE-7747-06ADCEFBC3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5317" y="1514437"/>
            <a:ext cx="1567409" cy="14453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C85099B-EE1E-FA5B-A0FD-C31742FF5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5870" y="3427813"/>
            <a:ext cx="1377012" cy="197146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BB9ECE1-BAE7-984D-88B4-8C21EFFC7C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43688" y="4060876"/>
            <a:ext cx="1473007" cy="165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32202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93272-46F1-4C67-B3F0-71036872A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F07C0B-1A8B-4CCB-8CA1-8EBC886E8F76}"/>
              </a:ext>
            </a:extLst>
          </p:cNvPr>
          <p:cNvSpPr txBox="1"/>
          <p:nvPr/>
        </p:nvSpPr>
        <p:spPr>
          <a:xfrm>
            <a:off x="1519304" y="306195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lo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672E98-5CFA-4BAC-890C-656CC3304363}"/>
              </a:ext>
            </a:extLst>
          </p:cNvPr>
          <p:cNvSpPr txBox="1"/>
          <p:nvPr/>
        </p:nvSpPr>
        <p:spPr>
          <a:xfrm>
            <a:off x="5344726" y="30456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loc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2F4FA2-BB32-491C-814B-DE4B08C63AB6}"/>
              </a:ext>
            </a:extLst>
          </p:cNvPr>
          <p:cNvSpPr txBox="1"/>
          <p:nvPr/>
        </p:nvSpPr>
        <p:spPr>
          <a:xfrm>
            <a:off x="8934644" y="30456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ucation suppor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235CFC-9E3A-4416-AB56-7C42A3E5FCA3}"/>
              </a:ext>
            </a:extLst>
          </p:cNvPr>
          <p:cNvSpPr txBox="1"/>
          <p:nvPr/>
        </p:nvSpPr>
        <p:spPr>
          <a:xfrm>
            <a:off x="1483738" y="551503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amily centered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AACF4E-E801-4142-A06C-C2C04095D7A0}"/>
              </a:ext>
            </a:extLst>
          </p:cNvPr>
          <p:cNvSpPr txBox="1"/>
          <p:nvPr/>
        </p:nvSpPr>
        <p:spPr>
          <a:xfrm>
            <a:off x="5344726" y="551503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eedbac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3D0C29-95F3-4986-9C9D-9CC6F045E133}"/>
              </a:ext>
            </a:extLst>
          </p:cNvPr>
          <p:cNvSpPr txBox="1"/>
          <p:nvPr/>
        </p:nvSpPr>
        <p:spPr>
          <a:xfrm>
            <a:off x="8934644" y="55176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row </a:t>
            </a:r>
          </a:p>
        </p:txBody>
      </p:sp>
      <p:sp>
        <p:nvSpPr>
          <p:cNvPr id="21" name="Espaço Reservado para Número de Slide 20">
            <a:extLst>
              <a:ext uri="{FF2B5EF4-FFF2-40B4-BE49-F238E27FC236}">
                <a16:creationId xmlns:a16="http://schemas.microsoft.com/office/drawing/2014/main" id="{546E53CA-B4BE-78E6-ED3F-E891C44AD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6</a:t>
            </a:fld>
            <a:endParaRPr lang="pt-BR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CDB73D6-0BB5-D5A6-BAD1-FB08938C4B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6939" y="2014062"/>
            <a:ext cx="1456926" cy="103198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65E6D42-0360-6B7B-2FA2-E94C7DDE0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7050" y="1561968"/>
            <a:ext cx="1547547" cy="145692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F35B0DF-1637-A5E5-BE28-64193A62F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965" y="1509074"/>
            <a:ext cx="1732196" cy="150981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33F9A81-F2D9-0F4A-02B5-12A2D49414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9303" y="4134402"/>
            <a:ext cx="1732197" cy="12895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DD9DB22-420F-2F81-0570-5F6375DA54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4725" y="3970239"/>
            <a:ext cx="1732197" cy="145368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2C3708D-3BC2-2700-C88C-2979F4C601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89534" y="4076887"/>
            <a:ext cx="1042135" cy="143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93776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D3A3-22B7-44E7-8710-37111949D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7023F7E-7D03-4BA9-928E-993BD75B9386}"/>
              </a:ext>
            </a:extLst>
          </p:cNvPr>
          <p:cNvSpPr txBox="1"/>
          <p:nvPr/>
        </p:nvSpPr>
        <p:spPr>
          <a:xfrm>
            <a:off x="1384007" y="312420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34E9F2-2DB2-47D3-B916-0E35F0BFE018}"/>
              </a:ext>
            </a:extLst>
          </p:cNvPr>
          <p:cNvSpPr txBox="1"/>
          <p:nvPr/>
        </p:nvSpPr>
        <p:spPr>
          <a:xfrm>
            <a:off x="1486309" y="546896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wn commitment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E6252B-5A77-4AB6-8956-8C9812B4D3CD}"/>
              </a:ext>
            </a:extLst>
          </p:cNvPr>
          <p:cNvSpPr txBox="1"/>
          <p:nvPr/>
        </p:nvSpPr>
        <p:spPr>
          <a:xfrm>
            <a:off x="4933567" y="3114363"/>
            <a:ext cx="2190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Customer Commun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05E9CA3-760F-4AB7-9010-C865915EB76C}"/>
              </a:ext>
            </a:extLst>
          </p:cNvPr>
          <p:cNvSpPr txBox="1"/>
          <p:nvPr/>
        </p:nvSpPr>
        <p:spPr>
          <a:xfrm>
            <a:off x="8856451" y="312420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nline community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AC68D1-73FC-47EA-AA8C-9CCF9C161799}"/>
              </a:ext>
            </a:extLst>
          </p:cNvPr>
          <p:cNvSpPr txBox="1"/>
          <p:nvPr/>
        </p:nvSpPr>
        <p:spPr>
          <a:xfrm>
            <a:off x="5162503" y="545671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id compens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81E1D-FB6E-428E-9EE0-EC5D5F13BAF4}"/>
              </a:ext>
            </a:extLst>
          </p:cNvPr>
          <p:cNvSpPr txBox="1"/>
          <p:nvPr/>
        </p:nvSpPr>
        <p:spPr>
          <a:xfrm>
            <a:off x="8896413" y="54567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id time-off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0DB2E4D4-96A1-EABB-FFA9-E8D59C8ACB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7</a:t>
            </a:fld>
            <a:endParaRPr lang="pt-B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A2D518-A3B7-D0DC-C4D7-97EB57410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057" y="1781707"/>
            <a:ext cx="1634077" cy="13733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9D03F8-26C5-9ADC-CFAF-55385723FC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653" y="1381809"/>
            <a:ext cx="1778000" cy="16186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CD5F46-5733-A9C0-928F-498EFAB367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9867" y="1316288"/>
            <a:ext cx="1579164" cy="18079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59D9B1-1307-FD28-34FF-CFF0BE3CF9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5015" y="4095919"/>
            <a:ext cx="962160" cy="129558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C11E26F-84C2-D121-9356-016DB7E8A1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5346" y="3938570"/>
            <a:ext cx="1441308" cy="145293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3138A46-E065-D654-9630-A6C565B70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1875" y="4032240"/>
            <a:ext cx="1704681" cy="143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057140"/>
      </p:ext>
    </p:extLst>
  </p:cSld>
  <p:clrMapOvr>
    <a:masterClrMapping/>
  </p:clrMapOvr>
  <p:transition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834A5DB8-4A62-42D3-A837-56C812041879}"/>
              </a:ext>
            </a:extLst>
          </p:cNvPr>
          <p:cNvSpPr txBox="1"/>
          <p:nvPr/>
        </p:nvSpPr>
        <p:spPr>
          <a:xfrm>
            <a:off x="5227290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nd tab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611E7B6-1C5C-4513-BDE7-07FFCE8F5F49}"/>
              </a:ext>
            </a:extLst>
          </p:cNvPr>
          <p:cNvSpPr txBox="1"/>
          <p:nvPr/>
        </p:nvSpPr>
        <p:spPr>
          <a:xfrm>
            <a:off x="8713602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ellness  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0FFFFD4-1E5A-4A4F-AB09-99819841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6834"/>
            <a:ext cx="10972800" cy="836084"/>
          </a:xfrm>
        </p:spPr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0D96D93-54D8-FC96-BCB8-8A7D638AC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8</a:t>
            </a:fld>
            <a:endParaRPr lang="pt-BR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0BC4F-C220-E443-6618-C34C0E60E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5307" y="2403615"/>
            <a:ext cx="2101385" cy="13192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5BEC55-4C5E-75BA-EBF2-C5D1C06852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3601" y="2320289"/>
            <a:ext cx="1732197" cy="147852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515DD1C-7D22-8C3E-12D7-0F356B0A46C4}"/>
              </a:ext>
            </a:extLst>
          </p:cNvPr>
          <p:cNvSpPr txBox="1"/>
          <p:nvPr/>
        </p:nvSpPr>
        <p:spPr>
          <a:xfrm>
            <a:off x="1751938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mmun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55972-E319-ED81-B816-EA335237B4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7343" y="2663022"/>
            <a:ext cx="2101386" cy="10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225716"/>
      </p:ext>
    </p:extLst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BD097E-3018-E375-11C1-A07EC1277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4388EE3-C420-C7A6-17ED-1C2B43AE40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4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579179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650A18-5966-2314-D3F2-E2F30C2C1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RA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8839931-3FBB-B7EB-BC19-4FCDB722E1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8CB2435-DEE5-C96E-DC0B-5F2A20884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02945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42956A-6670-CA96-7FEF-31A25463E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PARAGON 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8E7BC8B-1B61-6C6B-F644-CBA1EC6E925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DAF8152-1F20-095D-91B2-0A8715616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66521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/>
              <a:t>MAPAS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463671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/>
              <a:t>KPI-Matrix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247834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 err="1"/>
              <a:t>PeeringDashboard</a:t>
            </a:r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913023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Ciri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689"/>
      </a:accent1>
      <a:accent2>
        <a:srgbClr val="29B6FF"/>
      </a:accent2>
      <a:accent3>
        <a:srgbClr val="A5A5A5"/>
      </a:accent3>
      <a:accent4>
        <a:srgbClr val="EF2AC1"/>
      </a:accent4>
      <a:accent5>
        <a:srgbClr val="38D430"/>
      </a:accent5>
      <a:accent6>
        <a:srgbClr val="FFE800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17338c7-2f0f-457b-bc70-71737ab6b816">
      <Terms xmlns="http://schemas.microsoft.com/office/infopath/2007/PartnerControls"/>
    </lcf76f155ced4ddcb4097134ff3c332f>
    <TaxCatchAll xmlns="4f92f568-e09d-4260-b00e-6d179f3d8f8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D6F7A005C773F408268EEBD952C28F9" ma:contentTypeVersion="12" ma:contentTypeDescription="Crear nuevo documento." ma:contentTypeScope="" ma:versionID="837a164f5ceb97aa01e2eb8d0d9a6fe8">
  <xsd:schema xmlns:xsd="http://www.w3.org/2001/XMLSchema" xmlns:xs="http://www.w3.org/2001/XMLSchema" xmlns:p="http://schemas.microsoft.com/office/2006/metadata/properties" xmlns:ns2="4f92f568-e09d-4260-b00e-6d179f3d8f8e" xmlns:ns3="917338c7-2f0f-457b-bc70-71737ab6b816" targetNamespace="http://schemas.microsoft.com/office/2006/metadata/properties" ma:root="true" ma:fieldsID="432cd23019d7a208b48ee380da6ca58e" ns2:_="" ns3:_="">
    <xsd:import namespace="4f92f568-e09d-4260-b00e-6d179f3d8f8e"/>
    <xsd:import namespace="917338c7-2f0f-457b-bc70-71737ab6b81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92f568-e09d-4260-b00e-6d179f3d8f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aaa83d27-936e-4509-8807-bfc0e2804dd5}" ma:internalName="TaxCatchAll" ma:showField="CatchAllData" ma:web="4f92f568-e09d-4260-b00e-6d179f3d8f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7338c7-2f0f-457b-bc70-71737ab6b8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Etiquetas de imagen" ma:readOnly="false" ma:fieldId="{5cf76f15-5ced-4ddc-b409-7134ff3c332f}" ma:taxonomyMulti="true" ma:sspId="9afd5009-3f10-406a-9a82-0df89c42e2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E34D70-9983-4356-9E63-87A173AC221E}">
  <ds:schemaRefs>
    <ds:schemaRef ds:uri="1938dcc5-4b01-4a43-9485-028a7e372511"/>
    <ds:schemaRef ds:uri="a6ccc3fe-4b59-42a8-bdb6-09444b62dbd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917338c7-2f0f-457b-bc70-71737ab6b816"/>
    <ds:schemaRef ds:uri="4f92f568-e09d-4260-b00e-6d179f3d8f8e"/>
  </ds:schemaRefs>
</ds:datastoreItem>
</file>

<file path=customXml/itemProps2.xml><?xml version="1.0" encoding="utf-8"?>
<ds:datastoreItem xmlns:ds="http://schemas.openxmlformats.org/officeDocument/2006/customXml" ds:itemID="{89263B52-4FA5-4CB1-A050-B3B4492804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92f568-e09d-4260-b00e-6d179f3d8f8e"/>
    <ds:schemaRef ds:uri="917338c7-2f0f-457b-bc70-71737ab6b8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4EE347F-3F02-4696-B7A4-60561D3F407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5</Words>
  <Application>Microsoft Office PowerPoint</Application>
  <PresentationFormat>Panorámica</PresentationFormat>
  <Paragraphs>294</Paragraphs>
  <Slides>49</Slides>
  <Notes>11</Notes>
  <HiddenSlides>1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9</vt:i4>
      </vt:variant>
    </vt:vector>
  </HeadingPairs>
  <TitlesOfParts>
    <vt:vector size="56" baseType="lpstr">
      <vt:lpstr>Arial</vt:lpstr>
      <vt:lpstr>Calibri</vt:lpstr>
      <vt:lpstr>Graphik</vt:lpstr>
      <vt:lpstr>Graphik Semibold</vt:lpstr>
      <vt:lpstr>Maven Pro Regular Medium</vt:lpstr>
      <vt:lpstr>1_Tema do Office</vt:lpstr>
      <vt:lpstr>think-cell Slide</vt:lpstr>
      <vt:lpstr>Construcción de una API REST en spring boot</vt:lpstr>
      <vt:lpstr>Estructura básica de una API REST</vt:lpstr>
      <vt:lpstr>Llamados a los end-points</vt:lpstr>
      <vt:lpstr>Network Activation – IP/Metro </vt:lpstr>
      <vt:lpstr>RAS</vt:lpstr>
      <vt:lpstr>PARAGON </vt:lpstr>
      <vt:lpstr>Herramientas </vt:lpstr>
      <vt:lpstr>Herramientas </vt:lpstr>
      <vt:lpstr>Herramientas </vt:lpstr>
      <vt:lpstr>Herramientas </vt:lpstr>
      <vt:lpstr>Tutor de Diagnostico</vt:lpstr>
      <vt:lpstr>Relevamiento de BW</vt:lpstr>
      <vt:lpstr>Legacy</vt:lpstr>
      <vt:lpstr>BGP MOSS &lt;&gt; DCN</vt:lpstr>
      <vt:lpstr>CarveOut</vt:lpstr>
      <vt:lpstr>Pilares de Soluciones</vt:lpstr>
      <vt:lpstr>Soluciones de la plataforma</vt:lpstr>
      <vt:lpstr>Negocios/ Ventas</vt:lpstr>
      <vt:lpstr>Negocios/ Ventas</vt:lpstr>
      <vt:lpstr>Negocios/ Ventas</vt:lpstr>
      <vt:lpstr>Gente</vt:lpstr>
      <vt:lpstr>Gente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Dispositivos</vt:lpstr>
      <vt:lpstr>Dispositivos</vt:lpstr>
      <vt:lpstr>Sitios</vt:lpstr>
      <vt:lpstr>Sitios</vt:lpstr>
      <vt:lpstr>Sitios</vt:lpstr>
      <vt:lpstr>RH / Experiencia del Cliente (CX)</vt:lpstr>
      <vt:lpstr>RH / Experiencia del Cliente (CX)</vt:lpstr>
      <vt:lpstr>RH / Experiencia del Cliente (CX)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bitda Growth</dc:title>
  <dc:creator>Andolina, Chiara</dc:creator>
  <cp:lastModifiedBy>Camilo Medina</cp:lastModifiedBy>
  <cp:revision>3</cp:revision>
  <dcterms:created xsi:type="dcterms:W3CDTF">2022-08-26T21:21:44Z</dcterms:created>
  <dcterms:modified xsi:type="dcterms:W3CDTF">2024-06-22T22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F7A005C773F408268EEBD952C28F9</vt:lpwstr>
  </property>
  <property fmtid="{D5CDD505-2E9C-101B-9397-08002B2CF9AE}" pid="3" name="MediaServiceImageTags">
    <vt:lpwstr/>
  </property>
</Properties>
</file>